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2"/>
  </p:notesMasterIdLst>
  <p:sldIdLst>
    <p:sldId id="2147478868" r:id="rId5"/>
    <p:sldId id="2739" r:id="rId6"/>
    <p:sldId id="2147479725" r:id="rId7"/>
    <p:sldId id="2147479726" r:id="rId8"/>
    <p:sldId id="2147479722" r:id="rId9"/>
    <p:sldId id="2147479723" r:id="rId10"/>
    <p:sldId id="2147478925" r:id="rId11"/>
  </p:sldIdLst>
  <p:sldSz cx="12192000" cy="6858000"/>
  <p:notesSz cx="6858000" cy="9144000"/>
  <p:custDataLst>
    <p:tags r:id="rId13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312FA13-C046-42EB-AB2D-01CA28327972}">
          <p14:sldIdLst>
            <p14:sldId id="2147478868"/>
            <p14:sldId id="2739"/>
            <p14:sldId id="2147479725"/>
            <p14:sldId id="2147479726"/>
            <p14:sldId id="2147479722"/>
            <p14:sldId id="2147479723"/>
            <p14:sldId id="214747892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05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B2EB15-4BF3-C645-4985-EB74BAC1FE5F}" name="Horányi Ákos" initials="HÁ" userId="S::43724@4ig.hu::0af9bb4a-8676-4ad4-b66b-f34816e15d1d" providerId="AD"/>
  <p188:author id="{7F008424-B772-46B3-398C-38E9BA8137DB}" name="Zarándy Pál" initials="PZ" userId="S::84973@4ig.hu::519a3086-271c-4a7b-a8a1-bb6bf7c02a38" providerId="AD"/>
  <p188:author id="{05AB9350-7552-2EA4-6CC2-B620007475EB}" name="Jesica Lindgren" initials="JL" userId="S::jesica.lindgren@bluestarstrategies.com::2b42c4c6-e4e1-4434-a45d-49a0a76b2bf2" providerId="AD"/>
  <p188:author id="{149C7765-3A89-5141-E0EA-C20DAA9EECD5}" name="Károly Áron Nimród" initials="KÁN" userId="S::51985@4ig.hu::46b1a5b2-08ed-48a8-9d33-72aebd5281a8" providerId="AD"/>
  <p188:author id="{C176EBB6-0F71-3B87-FD4A-AE260D2F9CF8}" name="Árisz Kecskés" initials="ÁK" userId="S::kecskes.arisz@remred.hu::935f83da-a210-4e0c-bc83-a57639a854df" providerId="AD"/>
  <p188:author id="{4DEFC8CF-E67A-57CA-4F87-92834A375B5A}" name="Halmosi Imola Kitti" initials="HIK" userId="S::43825@4ig.hu::63b2d839-5490-4e1f-b4a7-d45126880e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49BD7"/>
    <a:srgbClr val="E40F07"/>
    <a:srgbClr val="E95A0C"/>
    <a:srgbClr val="636363"/>
    <a:srgbClr val="FAFC12"/>
    <a:srgbClr val="9BCDFF"/>
    <a:srgbClr val="EC8617"/>
    <a:srgbClr val="3D3D3F"/>
    <a:srgbClr val="7FF6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F18A4-5A1E-4842-BE5A-A0EEE98D8B92}" v="2" dt="2025-05-13T06:14:23.06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Közepesen sötét stílus 2 – 6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Stílus és rács nélkül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éma alapján készült stílus 1 – 1. jelölőszín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A488322-F2BA-4B5B-9748-0D474271808F}" styleName="Közepesen sötét stílus 3 – 6. jelölőszín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8EC20E35-A176-4012-BC5E-935CFFF8708E}" styleName="Közepesen sötét stílus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D7AC3CCA-C797-4891-BE02-D94E43425B78}" styleName="Közepesen sötét stílu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16D9F66E-5EB9-4882-86FB-DCBF35E3C3E4}" styleName="Közepesen sötét stílus 4 – 6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Téma alapján készült stílus 1 – 6. jelölőszín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5940675A-B579-460E-94D1-54222C63F5DA}" styleName="Nincs stílus, csak rács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Téma alapján készült stílus 2 – 6. jelölőszín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Világos stílus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Világos stílus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02" autoAdjust="0"/>
    <p:restoredTop sz="93190" autoAdjust="0"/>
  </p:normalViewPr>
  <p:slideViewPr>
    <p:cSldViewPr snapToGrid="0">
      <p:cViewPr varScale="1">
        <p:scale>
          <a:sx n="76" d="100"/>
          <a:sy n="76" d="100"/>
        </p:scale>
        <p:origin x="984" y="271"/>
      </p:cViewPr>
      <p:guideLst>
        <p:guide orient="horz" pos="2205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48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rándy Pál" userId="519a3086-271c-4a7b-a8a1-bb6bf7c02a38" providerId="ADAL" clId="{118F18A4-5A1E-4842-BE5A-A0EEE98D8B92}"/>
    <pc:docChg chg="undo custSel addSld delSld modSld sldOrd modSection">
      <pc:chgData name="Zarándy Pál" userId="519a3086-271c-4a7b-a8a1-bb6bf7c02a38" providerId="ADAL" clId="{118F18A4-5A1E-4842-BE5A-A0EEE98D8B92}" dt="2025-05-13T06:19:08.184" v="558" actId="113"/>
      <pc:docMkLst>
        <pc:docMk/>
      </pc:docMkLst>
      <pc:sldChg chg="modSp mod ord">
        <pc:chgData name="Zarándy Pál" userId="519a3086-271c-4a7b-a8a1-bb6bf7c02a38" providerId="ADAL" clId="{118F18A4-5A1E-4842-BE5A-A0EEE98D8B92}" dt="2025-05-13T06:19:08.184" v="558" actId="113"/>
        <pc:sldMkLst>
          <pc:docMk/>
          <pc:sldMk cId="1255907007" sldId="2739"/>
        </pc:sldMkLst>
        <pc:spChg chg="mod">
          <ac:chgData name="Zarándy Pál" userId="519a3086-271c-4a7b-a8a1-bb6bf7c02a38" providerId="ADAL" clId="{118F18A4-5A1E-4842-BE5A-A0EEE98D8B92}" dt="2025-05-13T06:19:08.184" v="558" actId="113"/>
          <ac:spMkLst>
            <pc:docMk/>
            <pc:sldMk cId="1255907007" sldId="2739"/>
            <ac:spMk id="2" creationId="{46F3EE4D-BFA1-B6C4-03E3-054C51B1A835}"/>
          </ac:spMkLst>
        </pc:spChg>
        <pc:spChg chg="mod">
          <ac:chgData name="Zarándy Pál" userId="519a3086-271c-4a7b-a8a1-bb6bf7c02a38" providerId="ADAL" clId="{118F18A4-5A1E-4842-BE5A-A0EEE98D8B92}" dt="2025-05-12T09:20:20.623" v="197" actId="20577"/>
          <ac:spMkLst>
            <pc:docMk/>
            <pc:sldMk cId="1255907007" sldId="2739"/>
            <ac:spMk id="4" creationId="{87E9C17E-3197-887D-AA95-E84D5A2AE7A6}"/>
          </ac:spMkLst>
        </pc:spChg>
        <pc:spChg chg="mod">
          <ac:chgData name="Zarándy Pál" userId="519a3086-271c-4a7b-a8a1-bb6bf7c02a38" providerId="ADAL" clId="{118F18A4-5A1E-4842-BE5A-A0EEE98D8B92}" dt="2025-05-12T08:14:50.807" v="51" actId="14100"/>
          <ac:spMkLst>
            <pc:docMk/>
            <pc:sldMk cId="1255907007" sldId="2739"/>
            <ac:spMk id="7" creationId="{8AE136A7-CCD4-47D9-7C28-501D0BEBA099}"/>
          </ac:spMkLst>
        </pc:spChg>
      </pc:sldChg>
      <pc:sldChg chg="modSp mod">
        <pc:chgData name="Zarándy Pál" userId="519a3086-271c-4a7b-a8a1-bb6bf7c02a38" providerId="ADAL" clId="{118F18A4-5A1E-4842-BE5A-A0EEE98D8B92}" dt="2025-05-12T06:24:22.119" v="14" actId="20577"/>
        <pc:sldMkLst>
          <pc:docMk/>
          <pc:sldMk cId="4149111305" sldId="2147478868"/>
        </pc:sldMkLst>
        <pc:spChg chg="mod">
          <ac:chgData name="Zarándy Pál" userId="519a3086-271c-4a7b-a8a1-bb6bf7c02a38" providerId="ADAL" clId="{118F18A4-5A1E-4842-BE5A-A0EEE98D8B92}" dt="2025-05-12T06:24:22.119" v="14" actId="20577"/>
          <ac:spMkLst>
            <pc:docMk/>
            <pc:sldMk cId="4149111305" sldId="2147478868"/>
            <ac:spMk id="8" creationId="{88AC4A21-D3A5-C8D0-1028-29DF705D073F}"/>
          </ac:spMkLst>
        </pc:spChg>
      </pc:sldChg>
      <pc:sldChg chg="modSp mod">
        <pc:chgData name="Zarándy Pál" userId="519a3086-271c-4a7b-a8a1-bb6bf7c02a38" providerId="ADAL" clId="{118F18A4-5A1E-4842-BE5A-A0EEE98D8B92}" dt="2025-05-13T06:16:38.225" v="485" actId="1076"/>
        <pc:sldMkLst>
          <pc:docMk/>
          <pc:sldMk cId="379390761" sldId="2147478925"/>
        </pc:sldMkLst>
        <pc:spChg chg="mod">
          <ac:chgData name="Zarándy Pál" userId="519a3086-271c-4a7b-a8a1-bb6bf7c02a38" providerId="ADAL" clId="{118F18A4-5A1E-4842-BE5A-A0EEE98D8B92}" dt="2025-05-13T06:16:38.225" v="485" actId="1076"/>
          <ac:spMkLst>
            <pc:docMk/>
            <pc:sldMk cId="379390761" sldId="2147478925"/>
            <ac:spMk id="7" creationId="{0C28C7D2-A630-6C7C-72EE-8DCABCD6483D}"/>
          </ac:spMkLst>
        </pc:spChg>
        <pc:picChg chg="mod">
          <ac:chgData name="Zarándy Pál" userId="519a3086-271c-4a7b-a8a1-bb6bf7c02a38" providerId="ADAL" clId="{118F18A4-5A1E-4842-BE5A-A0EEE98D8B92}" dt="2025-05-13T06:16:33.238" v="484" actId="1076"/>
          <ac:picMkLst>
            <pc:docMk/>
            <pc:sldMk cId="379390761" sldId="2147478925"/>
            <ac:picMk id="5" creationId="{ABB0EB9D-7345-DB91-4DEB-DCE385AAC5AE}"/>
          </ac:picMkLst>
        </pc:picChg>
      </pc:sldChg>
      <pc:sldChg chg="del">
        <pc:chgData name="Zarándy Pál" userId="519a3086-271c-4a7b-a8a1-bb6bf7c02a38" providerId="ADAL" clId="{118F18A4-5A1E-4842-BE5A-A0EEE98D8B92}" dt="2025-05-12T06:23:34.520" v="3" actId="47"/>
        <pc:sldMkLst>
          <pc:docMk/>
          <pc:sldMk cId="2499801446" sldId="2147479718"/>
        </pc:sldMkLst>
      </pc:sldChg>
      <pc:sldChg chg="del">
        <pc:chgData name="Zarándy Pál" userId="519a3086-271c-4a7b-a8a1-bb6bf7c02a38" providerId="ADAL" clId="{118F18A4-5A1E-4842-BE5A-A0EEE98D8B92}" dt="2025-05-13T06:14:55.813" v="472" actId="47"/>
        <pc:sldMkLst>
          <pc:docMk/>
          <pc:sldMk cId="1795072518" sldId="2147479720"/>
        </pc:sldMkLst>
      </pc:sldChg>
      <pc:sldChg chg="del">
        <pc:chgData name="Zarándy Pál" userId="519a3086-271c-4a7b-a8a1-bb6bf7c02a38" providerId="ADAL" clId="{118F18A4-5A1E-4842-BE5A-A0EEE98D8B92}" dt="2025-05-12T06:22:44.654" v="0" actId="47"/>
        <pc:sldMkLst>
          <pc:docMk/>
          <pc:sldMk cId="1285195881" sldId="2147479721"/>
        </pc:sldMkLst>
      </pc:sldChg>
      <pc:sldChg chg="modSp mod">
        <pc:chgData name="Zarándy Pál" userId="519a3086-271c-4a7b-a8a1-bb6bf7c02a38" providerId="ADAL" clId="{118F18A4-5A1E-4842-BE5A-A0EEE98D8B92}" dt="2025-05-13T06:17:46.903" v="517" actId="20577"/>
        <pc:sldMkLst>
          <pc:docMk/>
          <pc:sldMk cId="2181401387" sldId="2147479723"/>
        </pc:sldMkLst>
        <pc:spChg chg="mod">
          <ac:chgData name="Zarándy Pál" userId="519a3086-271c-4a7b-a8a1-bb6bf7c02a38" providerId="ADAL" clId="{118F18A4-5A1E-4842-BE5A-A0EEE98D8B92}" dt="2025-05-13T06:17:46.903" v="517" actId="20577"/>
          <ac:spMkLst>
            <pc:docMk/>
            <pc:sldMk cId="2181401387" sldId="2147479723"/>
            <ac:spMk id="3" creationId="{6DB309B4-F905-535C-0663-5CF945DCCB57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4" creationId="{1C519FE0-146B-7C8B-52CF-B9152327B278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5" creationId="{194C566A-B1F7-BC36-98A7-C213834FEDFF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6" creationId="{330C7A3F-7989-EFE7-AC4D-B7BC33AC42EC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12" creationId="{E73585DF-8B71-7F2E-FDB7-4F2DAA9FC90E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16" creationId="{FD013788-0F66-5EC6-25A2-293E6E4F6CC3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17" creationId="{EBD42E5E-CE29-F8AC-9127-95FBFDA79F25}"/>
          </ac:spMkLst>
        </pc:spChg>
        <pc:spChg chg="mod">
          <ac:chgData name="Zarándy Pál" userId="519a3086-271c-4a7b-a8a1-bb6bf7c02a38" providerId="ADAL" clId="{118F18A4-5A1E-4842-BE5A-A0EEE98D8B92}" dt="2025-05-13T06:10:07.799" v="432" actId="790"/>
          <ac:spMkLst>
            <pc:docMk/>
            <pc:sldMk cId="2181401387" sldId="2147479723"/>
            <ac:spMk id="19" creationId="{6D332A23-BBAB-F51B-2584-2060D66B316D}"/>
          </ac:spMkLst>
        </pc:spChg>
      </pc:sldChg>
      <pc:sldChg chg="del">
        <pc:chgData name="Zarándy Pál" userId="519a3086-271c-4a7b-a8a1-bb6bf7c02a38" providerId="ADAL" clId="{118F18A4-5A1E-4842-BE5A-A0EEE98D8B92}" dt="2025-05-12T06:22:50.498" v="1" actId="47"/>
        <pc:sldMkLst>
          <pc:docMk/>
          <pc:sldMk cId="940113405" sldId="2147479724"/>
        </pc:sldMkLst>
      </pc:sldChg>
      <pc:sldChg chg="addSp modSp mod">
        <pc:chgData name="Zarándy Pál" userId="519a3086-271c-4a7b-a8a1-bb6bf7c02a38" providerId="ADAL" clId="{118F18A4-5A1E-4842-BE5A-A0EEE98D8B92}" dt="2025-05-13T06:17:07.489" v="489" actId="1038"/>
        <pc:sldMkLst>
          <pc:docMk/>
          <pc:sldMk cId="3199110126" sldId="2147479725"/>
        </pc:sldMkLst>
        <pc:spChg chg="mod">
          <ac:chgData name="Zarándy Pál" userId="519a3086-271c-4a7b-a8a1-bb6bf7c02a38" providerId="ADAL" clId="{118F18A4-5A1E-4842-BE5A-A0EEE98D8B92}" dt="2025-05-13T06:11:49.555" v="451" actId="20577"/>
          <ac:spMkLst>
            <pc:docMk/>
            <pc:sldMk cId="3199110126" sldId="2147479725"/>
            <ac:spMk id="6" creationId="{AB53D10C-4C9A-8D97-DA56-6C0CB273B09C}"/>
          </ac:spMkLst>
        </pc:spChg>
        <pc:picChg chg="add mod">
          <ac:chgData name="Zarándy Pál" userId="519a3086-271c-4a7b-a8a1-bb6bf7c02a38" providerId="ADAL" clId="{118F18A4-5A1E-4842-BE5A-A0EEE98D8B92}" dt="2025-05-13T06:17:07.489" v="489" actId="1038"/>
          <ac:picMkLst>
            <pc:docMk/>
            <pc:sldMk cId="3199110126" sldId="2147479725"/>
            <ac:picMk id="8" creationId="{A81B3AE3-5A9F-18D3-253D-8C00C99CFAC5}"/>
          </ac:picMkLst>
        </pc:picChg>
        <pc:picChg chg="add mod">
          <ac:chgData name="Zarándy Pál" userId="519a3086-271c-4a7b-a8a1-bb6bf7c02a38" providerId="ADAL" clId="{118F18A4-5A1E-4842-BE5A-A0EEE98D8B92}" dt="2025-05-13T06:13:14.269" v="465" actId="1076"/>
          <ac:picMkLst>
            <pc:docMk/>
            <pc:sldMk cId="3199110126" sldId="2147479725"/>
            <ac:picMk id="14" creationId="{44F1D277-AC5C-7A21-D567-AFEEE3B5F800}"/>
          </ac:picMkLst>
        </pc:picChg>
        <pc:picChg chg="add mod">
          <ac:chgData name="Zarándy Pál" userId="519a3086-271c-4a7b-a8a1-bb6bf7c02a38" providerId="ADAL" clId="{118F18A4-5A1E-4842-BE5A-A0EEE98D8B92}" dt="2025-05-13T06:13:12.447" v="464" actId="1076"/>
          <ac:picMkLst>
            <pc:docMk/>
            <pc:sldMk cId="3199110126" sldId="2147479725"/>
            <ac:picMk id="20" creationId="{96EBAE3B-2EA1-417E-6080-C2A2D0CCC82E}"/>
          </ac:picMkLst>
        </pc:picChg>
      </pc:sldChg>
      <pc:sldChg chg="addSp delSp modSp add mod">
        <pc:chgData name="Zarándy Pál" userId="519a3086-271c-4a7b-a8a1-bb6bf7c02a38" providerId="ADAL" clId="{118F18A4-5A1E-4842-BE5A-A0EEE98D8B92}" dt="2025-05-13T06:14:51.006" v="471"/>
        <pc:sldMkLst>
          <pc:docMk/>
          <pc:sldMk cId="816701153" sldId="2147479726"/>
        </pc:sldMkLst>
        <pc:spChg chg="add mod">
          <ac:chgData name="Zarándy Pál" userId="519a3086-271c-4a7b-a8a1-bb6bf7c02a38" providerId="ADAL" clId="{118F18A4-5A1E-4842-BE5A-A0EEE98D8B92}" dt="2025-05-13T06:14:23.067" v="470"/>
          <ac:spMkLst>
            <pc:docMk/>
            <pc:sldMk cId="816701153" sldId="2147479726"/>
            <ac:spMk id="11" creationId="{E3A2F015-8507-55CB-6A98-7825209A3064}"/>
          </ac:spMkLst>
        </pc:spChg>
        <pc:spChg chg="mod">
          <ac:chgData name="Zarándy Pál" userId="519a3086-271c-4a7b-a8a1-bb6bf7c02a38" providerId="ADAL" clId="{118F18A4-5A1E-4842-BE5A-A0EEE98D8B92}" dt="2025-05-13T06:14:51.006" v="471"/>
          <ac:spMkLst>
            <pc:docMk/>
            <pc:sldMk cId="816701153" sldId="2147479726"/>
            <ac:spMk id="28" creationId="{DEED1606-C986-A888-AEBC-4B0E0C45C2E2}"/>
          </ac:spMkLst>
        </pc:spChg>
        <pc:picChg chg="add mod">
          <ac:chgData name="Zarándy Pál" userId="519a3086-271c-4a7b-a8a1-bb6bf7c02a38" providerId="ADAL" clId="{118F18A4-5A1E-4842-BE5A-A0EEE98D8B92}" dt="2025-05-13T06:14:23.067" v="470"/>
          <ac:picMkLst>
            <pc:docMk/>
            <pc:sldMk cId="816701153" sldId="2147479726"/>
            <ac:picMk id="2" creationId="{4FAC5A28-7B28-4D79-67B9-29934547F796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8" creationId="{ED9BEFD2-3F9E-4352-DE78-F1C0013AFA78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14" creationId="{BD427497-56AD-C605-E510-3FE2D8D13158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20" creationId="{92B6FCEF-88EB-1E4E-3C29-56F8A919F539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21" creationId="{1994D64D-2FDB-E5D0-F440-673AD55B44CF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26" creationId="{24354BCC-1E27-B532-4BA3-B054A7740966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27" creationId="{8713F646-29AD-095F-BD1E-A840FF76FEC6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29" creationId="{E256CAED-3646-9A44-8CB4-9987AA19E82A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1028" creationId="{7F13DA73-44F7-57D8-1173-B5D4CF2F6FD3}"/>
          </ac:picMkLst>
        </pc:picChg>
        <pc:picChg chg="del">
          <ac:chgData name="Zarándy Pál" userId="519a3086-271c-4a7b-a8a1-bb6bf7c02a38" providerId="ADAL" clId="{118F18A4-5A1E-4842-BE5A-A0EEE98D8B92}" dt="2025-05-13T06:14:22.184" v="469" actId="478"/>
          <ac:picMkLst>
            <pc:docMk/>
            <pc:sldMk cId="816701153" sldId="2147479726"/>
            <ac:picMk id="1030" creationId="{12F8407B-3462-E6BC-9059-51022D31BA06}"/>
          </ac:picMkLst>
        </pc:picChg>
      </pc:sldChg>
      <pc:sldChg chg="del">
        <pc:chgData name="Zarándy Pál" userId="519a3086-271c-4a7b-a8a1-bb6bf7c02a38" providerId="ADAL" clId="{118F18A4-5A1E-4842-BE5A-A0EEE98D8B92}" dt="2025-05-12T06:23:12.660" v="2" actId="47"/>
        <pc:sldMkLst>
          <pc:docMk/>
          <pc:sldMk cId="3012865138" sldId="2147479726"/>
        </pc:sldMkLst>
      </pc:sldChg>
    </pc:docChg>
  </pc:docChgLst>
  <pc:docChgLst>
    <pc:chgData name="Zarándy Pál" userId="519a3086-271c-4a7b-a8a1-bb6bf7c02a38" providerId="ADAL" clId="{9E470790-E83C-40B7-BF6C-E008F5D29861}"/>
    <pc:docChg chg="modSld">
      <pc:chgData name="Zarándy Pál" userId="519a3086-271c-4a7b-a8a1-bb6bf7c02a38" providerId="ADAL" clId="{9E470790-E83C-40B7-BF6C-E008F5D29861}" dt="2024-10-29T07:03:31.257" v="8" actId="20577"/>
      <pc:docMkLst>
        <pc:docMk/>
      </pc:docMkLst>
      <pc:sldChg chg="modSp mod">
        <pc:chgData name="Zarándy Pál" userId="519a3086-271c-4a7b-a8a1-bb6bf7c02a38" providerId="ADAL" clId="{9E470790-E83C-40B7-BF6C-E008F5D29861}" dt="2024-10-29T07:03:31.257" v="8" actId="20577"/>
        <pc:sldMkLst>
          <pc:docMk/>
          <pc:sldMk cId="4149111305" sldId="2147478868"/>
        </pc:sldMkLst>
      </pc:sldChg>
    </pc:docChg>
  </pc:docChgLst>
  <pc:docChgLst>
    <pc:chgData name="Zarándy Pál" userId="519a3086-271c-4a7b-a8a1-bb6bf7c02a38" providerId="ADAL" clId="{895BCECA-B240-438C-8D01-ED0C32795D6C}"/>
    <pc:docChg chg="undo custSel addSld delSld modSld sldOrd modSection">
      <pc:chgData name="Zarándy Pál" userId="519a3086-271c-4a7b-a8a1-bb6bf7c02a38" providerId="ADAL" clId="{895BCECA-B240-438C-8D01-ED0C32795D6C}" dt="2024-12-17T09:54:40.747" v="4882" actId="20577"/>
      <pc:docMkLst>
        <pc:docMk/>
      </pc:docMkLst>
      <pc:sldChg chg="addSp delSp modSp mod ord">
        <pc:chgData name="Zarándy Pál" userId="519a3086-271c-4a7b-a8a1-bb6bf7c02a38" providerId="ADAL" clId="{895BCECA-B240-438C-8D01-ED0C32795D6C}" dt="2024-12-17T09:54:40.747" v="4882" actId="20577"/>
        <pc:sldMkLst>
          <pc:docMk/>
          <pc:sldMk cId="1255907007" sldId="2739"/>
        </pc:sldMkLst>
      </pc:sldChg>
      <pc:sldChg chg="modSp mod">
        <pc:chgData name="Zarándy Pál" userId="519a3086-271c-4a7b-a8a1-bb6bf7c02a38" providerId="ADAL" clId="{895BCECA-B240-438C-8D01-ED0C32795D6C}" dt="2024-12-12T08:54:57.248" v="4861" actId="20577"/>
        <pc:sldMkLst>
          <pc:docMk/>
          <pc:sldMk cId="4149111305" sldId="2147478868"/>
        </pc:sldMkLst>
      </pc:sldChg>
      <pc:sldChg chg="addSp delSp modSp add mod">
        <pc:chgData name="Zarándy Pál" userId="519a3086-271c-4a7b-a8a1-bb6bf7c02a38" providerId="ADAL" clId="{895BCECA-B240-438C-8D01-ED0C32795D6C}" dt="2024-12-09T16:39:49.371" v="4139" actId="1036"/>
        <pc:sldMkLst>
          <pc:docMk/>
          <pc:sldMk cId="2499801446" sldId="2147479718"/>
        </pc:sldMkLst>
      </pc:sldChg>
      <pc:sldChg chg="addSp delSp modSp mod">
        <pc:chgData name="Zarándy Pál" userId="519a3086-271c-4a7b-a8a1-bb6bf7c02a38" providerId="ADAL" clId="{895BCECA-B240-438C-8D01-ED0C32795D6C}" dt="2024-12-09T16:50:05.447" v="4331" actId="113"/>
        <pc:sldMkLst>
          <pc:docMk/>
          <pc:sldMk cId="1795072518" sldId="2147479720"/>
        </pc:sldMkLst>
      </pc:sldChg>
      <pc:sldChg chg="modSp mod ord">
        <pc:chgData name="Zarándy Pál" userId="519a3086-271c-4a7b-a8a1-bb6bf7c02a38" providerId="ADAL" clId="{895BCECA-B240-438C-8D01-ED0C32795D6C}" dt="2024-12-09T17:04:16.581" v="4549" actId="20577"/>
        <pc:sldMkLst>
          <pc:docMk/>
          <pc:sldMk cId="1285195881" sldId="2147479721"/>
        </pc:sldMkLst>
      </pc:sldChg>
      <pc:sldChg chg="modSp mod">
        <pc:chgData name="Zarándy Pál" userId="519a3086-271c-4a7b-a8a1-bb6bf7c02a38" providerId="ADAL" clId="{895BCECA-B240-438C-8D01-ED0C32795D6C}" dt="2024-12-09T17:01:41.303" v="4531" actId="20577"/>
        <pc:sldMkLst>
          <pc:docMk/>
          <pc:sldMk cId="2882745328" sldId="2147479722"/>
        </pc:sldMkLst>
      </pc:sldChg>
      <pc:sldChg chg="addSp delSp modSp add mod ord">
        <pc:chgData name="Zarándy Pál" userId="519a3086-271c-4a7b-a8a1-bb6bf7c02a38" providerId="ADAL" clId="{895BCECA-B240-438C-8D01-ED0C32795D6C}" dt="2024-12-09T16:42:05.383" v="4191" actId="20577"/>
        <pc:sldMkLst>
          <pc:docMk/>
          <pc:sldMk cId="2181401387" sldId="2147479723"/>
        </pc:sldMkLst>
      </pc:sldChg>
      <pc:sldChg chg="addSp delSp modSp add mod">
        <pc:chgData name="Zarándy Pál" userId="519a3086-271c-4a7b-a8a1-bb6bf7c02a38" providerId="ADAL" clId="{895BCECA-B240-438C-8D01-ED0C32795D6C}" dt="2024-12-10T05:08:44.357" v="4804" actId="14100"/>
        <pc:sldMkLst>
          <pc:docMk/>
          <pc:sldMk cId="940113405" sldId="2147479724"/>
        </pc:sldMkLst>
      </pc:sldChg>
      <pc:sldChg chg="addSp delSp new del mod">
        <pc:chgData name="Zarándy Pál" userId="519a3086-271c-4a7b-a8a1-bb6bf7c02a38" providerId="ADAL" clId="{895BCECA-B240-438C-8D01-ED0C32795D6C}" dt="2024-12-08T15:40:20.199" v="1920" actId="680"/>
        <pc:sldMkLst>
          <pc:docMk/>
          <pc:sldMk cId="1225071016" sldId="2147479725"/>
        </pc:sldMkLst>
      </pc:sldChg>
      <pc:sldChg chg="addSp delSp modSp add mod">
        <pc:chgData name="Zarándy Pál" userId="519a3086-271c-4a7b-a8a1-bb6bf7c02a38" providerId="ADAL" clId="{895BCECA-B240-438C-8D01-ED0C32795D6C}" dt="2024-12-09T17:00:51.146" v="4501" actId="1076"/>
        <pc:sldMkLst>
          <pc:docMk/>
          <pc:sldMk cId="3199110126" sldId="2147479725"/>
        </pc:sldMkLst>
      </pc:sldChg>
      <pc:sldChg chg="addSp delSp modSp add mod ord">
        <pc:chgData name="Zarándy Pál" userId="519a3086-271c-4a7b-a8a1-bb6bf7c02a38" providerId="ADAL" clId="{895BCECA-B240-438C-8D01-ED0C32795D6C}" dt="2024-12-09T16:50:35.216" v="4332" actId="20577"/>
        <pc:sldMkLst>
          <pc:docMk/>
          <pc:sldMk cId="3012865138" sldId="214747972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A9264-3FA6-4915-BDF3-28662308F642}" type="datetimeFigureOut">
              <a:rPr lang="hu-HU" smtClean="0"/>
              <a:t>2025. 05. 12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264350-7510-4396-9ED6-B2B011619846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56959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64350-7510-4396-9ED6-B2B011619846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58924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A3EC70-1189-1610-1E45-B0C801DFC3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A2144CB-8C65-B861-22C3-A52C3EF851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3BEDD91-8F02-5A0A-942C-1319620FD1B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84FD14-9D4E-B2AC-56CC-889674EDA1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64350-7510-4396-9ED6-B2B011619846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032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DA4002-6877-5D0A-D557-C4C1FD351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341342E-B233-BC3C-B414-DAB1B066B1B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9364A31-8D6F-B1D5-3CF7-34413788CC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DF449B-C196-6A1D-5CF1-788887AA52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64350-7510-4396-9ED6-B2B011619846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6583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4235C9F-999B-9C4B-4772-DECA156CA8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AD9288C-0237-0CE6-1FDA-41D63C17900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503EE3-153A-0D92-CFAF-870395B021E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98918C-8D4D-AF32-8CB6-D379963F7D8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64350-7510-4396-9ED6-B2B011619846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06505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853C82-C715-B3BD-98EA-E967FB41B90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68CC1CC-2A1C-A6ED-3739-49E7149E084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98A7B6-47E2-E5FA-4E66-F6FE1AAD2AB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7A5ECA-09EC-198D-1DBA-83604694AB5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264350-7510-4396-9ED6-B2B011619846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9233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őadás 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ím helye 1"/>
          <p:cNvSpPr>
            <a:spLocks noGrp="1"/>
          </p:cNvSpPr>
          <p:nvPr>
            <p:ph type="title" hasCustomPrompt="1"/>
          </p:nvPr>
        </p:nvSpPr>
        <p:spPr>
          <a:xfrm>
            <a:off x="838200" y="1609725"/>
            <a:ext cx="5153025" cy="17903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hu-HU"/>
              <a:t>ELŐADÁS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400028"/>
            <a:ext cx="5153025" cy="1314450"/>
          </a:xfrm>
        </p:spPr>
        <p:txBody>
          <a:bodyPr/>
          <a:lstStyle>
            <a:lvl1pPr>
              <a:defRPr lang="hu-HU" sz="240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név szerkesztése</a:t>
            </a:r>
          </a:p>
          <a:p>
            <a:pPr lvl="0"/>
            <a:r>
              <a:rPr lang="hu-HU"/>
              <a:t>Mintabeosztás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894547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zöveg és ké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838200" y="1347787"/>
            <a:ext cx="5961400" cy="4595814"/>
          </a:xfrm>
        </p:spPr>
        <p:txBody>
          <a:bodyPr>
            <a:normAutofit/>
          </a:bodyPr>
          <a:lstStyle>
            <a:lvl1pPr marL="342900" indent="-342900" algn="l">
              <a:buClr>
                <a:schemeClr val="accent1"/>
              </a:buClr>
              <a:buFont typeface="Arial" panose="020B0604020202020204" pitchFamily="34" charset="0"/>
              <a:buChar char="•"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 szerkesztés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9" name="Kép helye 16"/>
          <p:cNvSpPr>
            <a:spLocks noGrp="1"/>
          </p:cNvSpPr>
          <p:nvPr>
            <p:ph type="pic" sz="quarter" idx="13"/>
          </p:nvPr>
        </p:nvSpPr>
        <p:spPr>
          <a:xfrm>
            <a:off x="6981825" y="1347789"/>
            <a:ext cx="4595188" cy="4595812"/>
          </a:xfrm>
        </p:spPr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21262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 és ké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838200" y="1771135"/>
            <a:ext cx="5961400" cy="4172466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sz="1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Listaszint szerkesztése</a:t>
            </a:r>
          </a:p>
          <a:p>
            <a:r>
              <a:rPr lang="hu-HU"/>
              <a:t>Listaszint szerkesztése</a:t>
            </a:r>
          </a:p>
          <a:p>
            <a:r>
              <a:rPr lang="hu-HU"/>
              <a:t>Listaszint szerkesztése</a:t>
            </a:r>
          </a:p>
          <a:p>
            <a:r>
              <a:rPr lang="hu-HU"/>
              <a:t>Listaszint szerkesztése</a:t>
            </a:r>
          </a:p>
          <a:p>
            <a:r>
              <a:rPr lang="hu-HU"/>
              <a:t>Listaszint szerkesztése</a:t>
            </a:r>
          </a:p>
          <a:p>
            <a:r>
              <a:rPr lang="hu-HU"/>
              <a:t>Listaszint szerkesztése</a:t>
            </a:r>
          </a:p>
          <a:p>
            <a:endParaRPr lang="hu-HU"/>
          </a:p>
        </p:txBody>
      </p:sp>
      <p:sp>
        <p:nvSpPr>
          <p:cNvPr id="17" name="Kép helye 16"/>
          <p:cNvSpPr>
            <a:spLocks noGrp="1"/>
          </p:cNvSpPr>
          <p:nvPr>
            <p:ph type="pic" sz="quarter" idx="13"/>
          </p:nvPr>
        </p:nvSpPr>
        <p:spPr>
          <a:xfrm>
            <a:off x="6981825" y="1347789"/>
            <a:ext cx="4595188" cy="4595812"/>
          </a:xfrm>
        </p:spPr>
        <p:txBody>
          <a:bodyPr/>
          <a:lstStyle/>
          <a:p>
            <a:endParaRPr lang="hu-HU"/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4"/>
          </p:nvPr>
        </p:nvSpPr>
        <p:spPr>
          <a:xfrm>
            <a:off x="838537" y="1347789"/>
            <a:ext cx="5961063" cy="423861"/>
          </a:xfrm>
        </p:spPr>
        <p:txBody>
          <a:bodyPr>
            <a:normAutofit/>
          </a:bodyPr>
          <a:lstStyle>
            <a:lvl1pPr>
              <a:defRPr lang="hu-HU" sz="20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28867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és ké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2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27866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9" name="Kép helye 16"/>
          <p:cNvSpPr>
            <a:spLocks noGrp="1"/>
          </p:cNvSpPr>
          <p:nvPr>
            <p:ph type="pic" sz="quarter" idx="13"/>
          </p:nvPr>
        </p:nvSpPr>
        <p:spPr>
          <a:xfrm>
            <a:off x="6981825" y="1347789"/>
            <a:ext cx="4595188" cy="4595812"/>
          </a:xfrm>
        </p:spPr>
        <p:txBody>
          <a:bodyPr/>
          <a:lstStyle/>
          <a:p>
            <a:endParaRPr lang="hu-HU"/>
          </a:p>
        </p:txBody>
      </p:sp>
      <p:sp>
        <p:nvSpPr>
          <p:cNvPr id="3" name="Diagram helye 2"/>
          <p:cNvSpPr>
            <a:spLocks noGrp="1"/>
          </p:cNvSpPr>
          <p:nvPr>
            <p:ph type="chart" sz="quarter" idx="14"/>
          </p:nvPr>
        </p:nvSpPr>
        <p:spPr>
          <a:xfrm>
            <a:off x="838200" y="1347787"/>
            <a:ext cx="5961400" cy="4595814"/>
          </a:xfrm>
        </p:spPr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52577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ttő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538070"/>
            <a:ext cx="5181600" cy="4351338"/>
          </a:xfrm>
        </p:spPr>
        <p:txBody>
          <a:bodyPr/>
          <a:lstStyle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538070"/>
            <a:ext cx="5181600" cy="4351338"/>
          </a:xfrm>
        </p:spPr>
        <p:txBody>
          <a:bodyPr/>
          <a:lstStyle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9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399"/>
            <a:ext cx="9943769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1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11791784" y="6492874"/>
            <a:ext cx="400216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09761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ttős tartalom címm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459490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283402"/>
            <a:ext cx="5157787" cy="3684588"/>
          </a:xfrm>
        </p:spPr>
        <p:txBody>
          <a:bodyPr>
            <a:normAutofit/>
          </a:bodyPr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 marL="11430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3pPr>
            <a:lvl4pPr marL="16002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4pPr>
            <a:lvl5pPr marL="2057400" indent="-228600">
              <a:buClr>
                <a:schemeClr val="accent1"/>
              </a:buClr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459490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283402"/>
            <a:ext cx="5183188" cy="3684588"/>
          </a:xfrm>
        </p:spPr>
        <p:txBody>
          <a:bodyPr>
            <a:normAutofit/>
          </a:bodyPr>
          <a:lstStyle>
            <a:lvl1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200"/>
            </a:lvl4pPr>
            <a:lvl5pPr>
              <a:buClr>
                <a:schemeClr val="accent1"/>
              </a:buClr>
              <a:defRPr sz="1200"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19915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338582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épek le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10" name="Szöveg helye 10"/>
          <p:cNvSpPr>
            <a:spLocks noGrp="1"/>
          </p:cNvSpPr>
          <p:nvPr>
            <p:ph type="body" sz="quarter" idx="13" hasCustomPrompt="1"/>
          </p:nvPr>
        </p:nvSpPr>
        <p:spPr>
          <a:xfrm>
            <a:off x="1685925" y="3713740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 algn="ctr">
              <a:defRPr lang="hu-HU" sz="14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név szerkesztése</a:t>
            </a:r>
          </a:p>
        </p:txBody>
      </p:sp>
      <p:sp>
        <p:nvSpPr>
          <p:cNvPr id="5" name="Kép helye 4"/>
          <p:cNvSpPr>
            <a:spLocks noGrp="1"/>
          </p:cNvSpPr>
          <p:nvPr>
            <p:ph type="pic" sz="quarter" idx="14"/>
          </p:nvPr>
        </p:nvSpPr>
        <p:spPr>
          <a:xfrm>
            <a:off x="1685925" y="2063894"/>
            <a:ext cx="1905000" cy="1649846"/>
          </a:xfrm>
        </p:spPr>
        <p:txBody>
          <a:bodyPr/>
          <a:lstStyle/>
          <a:p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5" hasCustomPrompt="1"/>
          </p:nvPr>
        </p:nvSpPr>
        <p:spPr>
          <a:xfrm>
            <a:off x="3752850" y="3713740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 algn="ctr">
              <a:defRPr lang="hu-HU" sz="14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név szerkesztése</a:t>
            </a:r>
          </a:p>
        </p:txBody>
      </p:sp>
      <p:sp>
        <p:nvSpPr>
          <p:cNvPr id="12" name="Kép helye 4"/>
          <p:cNvSpPr>
            <a:spLocks noGrp="1"/>
          </p:cNvSpPr>
          <p:nvPr>
            <p:ph type="pic" sz="quarter" idx="16"/>
          </p:nvPr>
        </p:nvSpPr>
        <p:spPr>
          <a:xfrm>
            <a:off x="3752850" y="2063894"/>
            <a:ext cx="1905000" cy="1649846"/>
          </a:xfrm>
        </p:spPr>
        <p:txBody>
          <a:bodyPr/>
          <a:lstStyle/>
          <a:p>
            <a:endParaRPr lang="hu-HU"/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7" hasCustomPrompt="1"/>
          </p:nvPr>
        </p:nvSpPr>
        <p:spPr>
          <a:xfrm>
            <a:off x="5819775" y="3713740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 algn="ctr">
              <a:defRPr lang="hu-HU" sz="14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hu-HU"/>
              <a:t>Mintanév szerkesztése</a:t>
            </a:r>
          </a:p>
        </p:txBody>
      </p:sp>
      <p:sp>
        <p:nvSpPr>
          <p:cNvPr id="14" name="Kép helye 4"/>
          <p:cNvSpPr>
            <a:spLocks noGrp="1"/>
          </p:cNvSpPr>
          <p:nvPr>
            <p:ph type="pic" sz="quarter" idx="18"/>
          </p:nvPr>
        </p:nvSpPr>
        <p:spPr>
          <a:xfrm>
            <a:off x="5819775" y="2063894"/>
            <a:ext cx="1905000" cy="1649846"/>
          </a:xfrm>
        </p:spPr>
        <p:txBody>
          <a:bodyPr/>
          <a:lstStyle/>
          <a:p>
            <a:endParaRPr lang="hu-HU"/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9" hasCustomPrompt="1"/>
          </p:nvPr>
        </p:nvSpPr>
        <p:spPr>
          <a:xfrm>
            <a:off x="7886700" y="3713740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 algn="ctr">
              <a:defRPr lang="hu-HU" sz="1400" b="1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hu-HU"/>
              <a:t>Mintanév szerkesztése</a:t>
            </a:r>
          </a:p>
        </p:txBody>
      </p:sp>
      <p:sp>
        <p:nvSpPr>
          <p:cNvPr id="16" name="Kép helye 4"/>
          <p:cNvSpPr>
            <a:spLocks noGrp="1"/>
          </p:cNvSpPr>
          <p:nvPr>
            <p:ph type="pic" sz="quarter" idx="20"/>
          </p:nvPr>
        </p:nvSpPr>
        <p:spPr>
          <a:xfrm>
            <a:off x="7886700" y="2063894"/>
            <a:ext cx="1905000" cy="1649846"/>
          </a:xfrm>
        </p:spPr>
        <p:txBody>
          <a:bodyPr/>
          <a:lstStyle/>
          <a:p>
            <a:endParaRPr lang="hu-HU"/>
          </a:p>
        </p:txBody>
      </p:sp>
      <p:sp>
        <p:nvSpPr>
          <p:cNvPr id="18" name="Dia számának helye 8"/>
          <p:cNvSpPr>
            <a:spLocks noGrp="1"/>
          </p:cNvSpPr>
          <p:nvPr>
            <p:ph type="sldNum" sz="quarter" idx="12"/>
          </p:nvPr>
        </p:nvSpPr>
        <p:spPr>
          <a:xfrm>
            <a:off x="11791784" y="6492874"/>
            <a:ext cx="400216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958412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ép magyarázatok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5" name="Kép helye 4"/>
          <p:cNvSpPr>
            <a:spLocks noGrp="1"/>
          </p:cNvSpPr>
          <p:nvPr>
            <p:ph type="pic" sz="quarter" idx="14"/>
          </p:nvPr>
        </p:nvSpPr>
        <p:spPr>
          <a:xfrm>
            <a:off x="3162298" y="1510507"/>
            <a:ext cx="5867400" cy="4280693"/>
          </a:xfrm>
        </p:spPr>
        <p:txBody>
          <a:bodyPr/>
          <a:lstStyle/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1" y="1262857"/>
            <a:ext cx="1666875" cy="49530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1.</a:t>
            </a:r>
          </a:p>
        </p:txBody>
      </p:sp>
      <p:sp>
        <p:nvSpPr>
          <p:cNvPr id="17" name="Szöveg helye 3"/>
          <p:cNvSpPr>
            <a:spLocks noGrp="1"/>
          </p:cNvSpPr>
          <p:nvPr>
            <p:ph type="body" sz="quarter" idx="16" hasCustomPrompt="1"/>
          </p:nvPr>
        </p:nvSpPr>
        <p:spPr>
          <a:xfrm>
            <a:off x="838201" y="1758157"/>
            <a:ext cx="1666875" cy="4953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 </a:t>
            </a:r>
            <a:r>
              <a:rPr lang="hu-HU" err="1"/>
              <a:t>alszöveg</a:t>
            </a:r>
            <a:endParaRPr lang="hu-HU"/>
          </a:p>
        </p:txBody>
      </p:sp>
      <p:sp>
        <p:nvSpPr>
          <p:cNvPr id="19" name="Szöveg helye 3"/>
          <p:cNvSpPr>
            <a:spLocks noGrp="1"/>
          </p:cNvSpPr>
          <p:nvPr>
            <p:ph type="body" sz="quarter" idx="18" hasCustomPrompt="1"/>
          </p:nvPr>
        </p:nvSpPr>
        <p:spPr>
          <a:xfrm>
            <a:off x="838200" y="2253457"/>
            <a:ext cx="1666875" cy="1247343"/>
          </a:xfrm>
        </p:spPr>
        <p:txBody>
          <a:bodyPr>
            <a:noAutofit/>
          </a:bodyPr>
          <a:lstStyle>
            <a:lvl1pPr>
              <a:defRPr sz="1100" baseline="0"/>
            </a:lvl1pPr>
          </a:lstStyle>
          <a:p>
            <a:pPr lvl="0"/>
            <a:r>
              <a:rPr lang="hu-HU"/>
              <a:t>Minta szövegtörzs szerkesztése. Kattintson ide a szövegtörzs szerkesztéséhez.</a:t>
            </a:r>
          </a:p>
        </p:txBody>
      </p:sp>
      <p:sp>
        <p:nvSpPr>
          <p:cNvPr id="23" name="Szöveg helye 3"/>
          <p:cNvSpPr>
            <a:spLocks noGrp="1"/>
          </p:cNvSpPr>
          <p:nvPr>
            <p:ph type="body" sz="quarter" idx="19" hasCustomPrompt="1"/>
          </p:nvPr>
        </p:nvSpPr>
        <p:spPr>
          <a:xfrm>
            <a:off x="9686924" y="1262857"/>
            <a:ext cx="1666875" cy="49530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3.</a:t>
            </a:r>
          </a:p>
        </p:txBody>
      </p:sp>
      <p:sp>
        <p:nvSpPr>
          <p:cNvPr id="24" name="Szöveg helye 3"/>
          <p:cNvSpPr>
            <a:spLocks noGrp="1"/>
          </p:cNvSpPr>
          <p:nvPr>
            <p:ph type="body" sz="quarter" idx="20" hasCustomPrompt="1"/>
          </p:nvPr>
        </p:nvSpPr>
        <p:spPr>
          <a:xfrm>
            <a:off x="9686924" y="1758157"/>
            <a:ext cx="1666875" cy="4953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 </a:t>
            </a:r>
            <a:r>
              <a:rPr lang="hu-HU" err="1"/>
              <a:t>alszöveg</a:t>
            </a:r>
            <a:endParaRPr lang="hu-HU"/>
          </a:p>
        </p:txBody>
      </p:sp>
      <p:sp>
        <p:nvSpPr>
          <p:cNvPr id="25" name="Szöveg helye 3"/>
          <p:cNvSpPr>
            <a:spLocks noGrp="1"/>
          </p:cNvSpPr>
          <p:nvPr>
            <p:ph type="body" sz="quarter" idx="21" hasCustomPrompt="1"/>
          </p:nvPr>
        </p:nvSpPr>
        <p:spPr>
          <a:xfrm>
            <a:off x="9686923" y="2253457"/>
            <a:ext cx="1666875" cy="1247343"/>
          </a:xfrm>
        </p:spPr>
        <p:txBody>
          <a:bodyPr>
            <a:noAutofit/>
          </a:bodyPr>
          <a:lstStyle>
            <a:lvl1pPr>
              <a:defRPr sz="1100" baseline="0"/>
            </a:lvl1pPr>
          </a:lstStyle>
          <a:p>
            <a:pPr lvl="0"/>
            <a:r>
              <a:rPr lang="hu-HU"/>
              <a:t>Minta szövegtörzs szerkesztése. Kattintson ide a szövegtörzs szerkesztéséhez.</a:t>
            </a:r>
          </a:p>
        </p:txBody>
      </p:sp>
      <p:sp>
        <p:nvSpPr>
          <p:cNvPr id="26" name="Szöveg helye 3"/>
          <p:cNvSpPr>
            <a:spLocks noGrp="1"/>
          </p:cNvSpPr>
          <p:nvPr>
            <p:ph type="body" sz="quarter" idx="22" hasCustomPrompt="1"/>
          </p:nvPr>
        </p:nvSpPr>
        <p:spPr>
          <a:xfrm>
            <a:off x="838201" y="3822270"/>
            <a:ext cx="1666875" cy="49530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2.</a:t>
            </a:r>
          </a:p>
        </p:txBody>
      </p:sp>
      <p:sp>
        <p:nvSpPr>
          <p:cNvPr id="27" name="Szöveg helye 3"/>
          <p:cNvSpPr>
            <a:spLocks noGrp="1"/>
          </p:cNvSpPr>
          <p:nvPr>
            <p:ph type="body" sz="quarter" idx="23" hasCustomPrompt="1"/>
          </p:nvPr>
        </p:nvSpPr>
        <p:spPr>
          <a:xfrm>
            <a:off x="838201" y="4317570"/>
            <a:ext cx="1666875" cy="4953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 </a:t>
            </a:r>
            <a:r>
              <a:rPr lang="hu-HU" err="1"/>
              <a:t>alszöveg</a:t>
            </a:r>
            <a:endParaRPr lang="hu-HU"/>
          </a:p>
        </p:txBody>
      </p:sp>
      <p:sp>
        <p:nvSpPr>
          <p:cNvPr id="28" name="Szöveg helye 3"/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812870"/>
            <a:ext cx="1666875" cy="1247343"/>
          </a:xfrm>
        </p:spPr>
        <p:txBody>
          <a:bodyPr>
            <a:noAutofit/>
          </a:bodyPr>
          <a:lstStyle>
            <a:lvl1pPr>
              <a:defRPr sz="1100" baseline="0"/>
            </a:lvl1pPr>
          </a:lstStyle>
          <a:p>
            <a:pPr lvl="0"/>
            <a:r>
              <a:rPr lang="hu-HU"/>
              <a:t>Minta szövegtörzs szerkesztése. Kattintson ide a szövegtörzs szerkesztéséhez.</a:t>
            </a:r>
          </a:p>
        </p:txBody>
      </p:sp>
      <p:sp>
        <p:nvSpPr>
          <p:cNvPr id="29" name="Szöveg helye 3"/>
          <p:cNvSpPr>
            <a:spLocks noGrp="1"/>
          </p:cNvSpPr>
          <p:nvPr>
            <p:ph type="body" sz="quarter" idx="25" hasCustomPrompt="1"/>
          </p:nvPr>
        </p:nvSpPr>
        <p:spPr>
          <a:xfrm>
            <a:off x="9686924" y="3822270"/>
            <a:ext cx="1666875" cy="49530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4.</a:t>
            </a:r>
          </a:p>
        </p:txBody>
      </p:sp>
      <p:sp>
        <p:nvSpPr>
          <p:cNvPr id="30" name="Szöveg helye 3"/>
          <p:cNvSpPr>
            <a:spLocks noGrp="1"/>
          </p:cNvSpPr>
          <p:nvPr>
            <p:ph type="body" sz="quarter" idx="26" hasCustomPrompt="1"/>
          </p:nvPr>
        </p:nvSpPr>
        <p:spPr>
          <a:xfrm>
            <a:off x="9686924" y="4317570"/>
            <a:ext cx="1666875" cy="495300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 </a:t>
            </a:r>
            <a:r>
              <a:rPr lang="hu-HU" err="1"/>
              <a:t>alszöveg</a:t>
            </a:r>
            <a:endParaRPr lang="hu-HU"/>
          </a:p>
        </p:txBody>
      </p:sp>
      <p:sp>
        <p:nvSpPr>
          <p:cNvPr id="31" name="Szöveg helye 3"/>
          <p:cNvSpPr>
            <a:spLocks noGrp="1"/>
          </p:cNvSpPr>
          <p:nvPr>
            <p:ph type="body" sz="quarter" idx="27" hasCustomPrompt="1"/>
          </p:nvPr>
        </p:nvSpPr>
        <p:spPr>
          <a:xfrm>
            <a:off x="9686923" y="4812870"/>
            <a:ext cx="1666875" cy="1247343"/>
          </a:xfrm>
        </p:spPr>
        <p:txBody>
          <a:bodyPr>
            <a:noAutofit/>
          </a:bodyPr>
          <a:lstStyle>
            <a:lvl1pPr>
              <a:defRPr sz="1100" baseline="0"/>
            </a:lvl1pPr>
          </a:lstStyle>
          <a:p>
            <a:pPr lvl="0"/>
            <a:r>
              <a:rPr lang="hu-HU"/>
              <a:t>Minta szövegtörzs szerkesztése. Kattintson ide a szövegtörzs szerkesztéséhez.</a:t>
            </a:r>
          </a:p>
        </p:txBody>
      </p:sp>
      <p:sp>
        <p:nvSpPr>
          <p:cNvPr id="33" name="Dia számának helye 3"/>
          <p:cNvSpPr>
            <a:spLocks noGrp="1"/>
          </p:cNvSpPr>
          <p:nvPr>
            <p:ph type="sldNum" sz="quarter" idx="12"/>
          </p:nvPr>
        </p:nvSpPr>
        <p:spPr>
          <a:xfrm>
            <a:off x="11791784" y="6492874"/>
            <a:ext cx="400216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95312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27866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838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 anchor="t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/>
              <a:t>Mintaszöveg szerkesztés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hu-HU"/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4267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7696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8319620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838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 anchor="t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2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/>
              <a:t>Mintaszöveg szerkesztés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hu-HU"/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4267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7696200" y="1838326"/>
            <a:ext cx="3371850" cy="31983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51681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2714625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5086350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7391400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43769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2714625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5086350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7391400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015641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lőadás 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Cím helye 1"/>
          <p:cNvSpPr>
            <a:spLocks noGrp="1"/>
          </p:cNvSpPr>
          <p:nvPr>
            <p:ph type="title" hasCustomPrompt="1"/>
          </p:nvPr>
        </p:nvSpPr>
        <p:spPr>
          <a:xfrm>
            <a:off x="838200" y="1609725"/>
            <a:ext cx="5153025" cy="17903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hu-HU"/>
              <a:t>ELŐADÁS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400028"/>
            <a:ext cx="5153025" cy="1314450"/>
          </a:xfrm>
        </p:spPr>
        <p:txBody>
          <a:bodyPr/>
          <a:lstStyle>
            <a:lvl1pPr>
              <a:defRPr lang="hu-HU" sz="240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név szerkesztése</a:t>
            </a:r>
          </a:p>
          <a:p>
            <a:pPr lvl="0"/>
            <a:r>
              <a:rPr lang="hu-HU"/>
              <a:t>Mintabeosztás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5390801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2714625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5086350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7391400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43769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2714625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5086350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7391400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308874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2714625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5086350" y="1227931"/>
            <a:ext cx="2266950" cy="2447925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7391400" y="1227931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43769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2714625" y="3751624"/>
            <a:ext cx="2266950" cy="2447925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5086350" y="3751624"/>
            <a:ext cx="2266950" cy="2447925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7391400" y="3751624"/>
            <a:ext cx="2266950" cy="2447925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8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816168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838200" y="1474354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3028325" y="1468797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5218450" y="1468797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51720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838200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3028325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5213605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8" name="Szöveg helye 10"/>
          <p:cNvSpPr>
            <a:spLocks noGrp="1"/>
          </p:cNvSpPr>
          <p:nvPr>
            <p:ph type="body" sz="quarter" idx="19"/>
          </p:nvPr>
        </p:nvSpPr>
        <p:spPr>
          <a:xfrm>
            <a:off x="7408575" y="1467208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9" name="Szöveg helye 10"/>
          <p:cNvSpPr>
            <a:spLocks noGrp="1"/>
          </p:cNvSpPr>
          <p:nvPr>
            <p:ph type="body" sz="quarter" idx="20"/>
          </p:nvPr>
        </p:nvSpPr>
        <p:spPr>
          <a:xfrm>
            <a:off x="9598700" y="1467208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0" name="Szöveg helye 10"/>
          <p:cNvSpPr>
            <a:spLocks noGrp="1"/>
          </p:cNvSpPr>
          <p:nvPr>
            <p:ph type="body" sz="quarter" idx="21"/>
          </p:nvPr>
        </p:nvSpPr>
        <p:spPr>
          <a:xfrm>
            <a:off x="7408575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1" name="Szöveg helye 10"/>
          <p:cNvSpPr>
            <a:spLocks noGrp="1"/>
          </p:cNvSpPr>
          <p:nvPr>
            <p:ph type="body" sz="quarter" idx="22"/>
          </p:nvPr>
        </p:nvSpPr>
        <p:spPr>
          <a:xfrm>
            <a:off x="9598700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8666822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838200" y="1474354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3028325" y="1468797"/>
            <a:ext cx="1714500" cy="1955078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5218450" y="1468797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51720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5" name="Szöveg helye 10"/>
          <p:cNvSpPr>
            <a:spLocks noGrp="1"/>
          </p:cNvSpPr>
          <p:nvPr>
            <p:ph type="body" sz="quarter" idx="16"/>
          </p:nvPr>
        </p:nvSpPr>
        <p:spPr>
          <a:xfrm>
            <a:off x="838200" y="3951285"/>
            <a:ext cx="1714500" cy="1955078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6" name="Szöveg helye 10"/>
          <p:cNvSpPr>
            <a:spLocks noGrp="1"/>
          </p:cNvSpPr>
          <p:nvPr>
            <p:ph type="body" sz="quarter" idx="17"/>
          </p:nvPr>
        </p:nvSpPr>
        <p:spPr>
          <a:xfrm>
            <a:off x="3028325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7" name="Szöveg helye 10"/>
          <p:cNvSpPr>
            <a:spLocks noGrp="1"/>
          </p:cNvSpPr>
          <p:nvPr>
            <p:ph type="body" sz="quarter" idx="18"/>
          </p:nvPr>
        </p:nvSpPr>
        <p:spPr>
          <a:xfrm>
            <a:off x="5213605" y="3951285"/>
            <a:ext cx="1714500" cy="1955078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8" name="Szöveg helye 10"/>
          <p:cNvSpPr>
            <a:spLocks noGrp="1"/>
          </p:cNvSpPr>
          <p:nvPr>
            <p:ph type="body" sz="quarter" idx="19"/>
          </p:nvPr>
        </p:nvSpPr>
        <p:spPr>
          <a:xfrm>
            <a:off x="7408575" y="1467208"/>
            <a:ext cx="1714500" cy="1955078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9" name="Szöveg helye 10"/>
          <p:cNvSpPr>
            <a:spLocks noGrp="1"/>
          </p:cNvSpPr>
          <p:nvPr>
            <p:ph type="body" sz="quarter" idx="20"/>
          </p:nvPr>
        </p:nvSpPr>
        <p:spPr>
          <a:xfrm>
            <a:off x="9598700" y="1467208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0" name="Szöveg helye 10"/>
          <p:cNvSpPr>
            <a:spLocks noGrp="1"/>
          </p:cNvSpPr>
          <p:nvPr>
            <p:ph type="body" sz="quarter" idx="21"/>
          </p:nvPr>
        </p:nvSpPr>
        <p:spPr>
          <a:xfrm>
            <a:off x="7408575" y="3951285"/>
            <a:ext cx="1714500" cy="1955078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1" name="Szöveg helye 10"/>
          <p:cNvSpPr>
            <a:spLocks noGrp="1"/>
          </p:cNvSpPr>
          <p:nvPr>
            <p:ph type="body" sz="quarter" idx="22"/>
          </p:nvPr>
        </p:nvSpPr>
        <p:spPr>
          <a:xfrm>
            <a:off x="9598700" y="3951285"/>
            <a:ext cx="1714500" cy="1955078"/>
          </a:xfrm>
          <a:blipFill>
            <a:blip r:embed="rId3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sz="1400"/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253563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iemelések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11" name="Szöveg helye 10"/>
          <p:cNvSpPr>
            <a:spLocks noGrp="1"/>
          </p:cNvSpPr>
          <p:nvPr>
            <p:ph type="body" sz="quarter" idx="13"/>
          </p:nvPr>
        </p:nvSpPr>
        <p:spPr>
          <a:xfrm>
            <a:off x="838200" y="1238971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4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43769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22" name="Szöveg helye 10"/>
          <p:cNvSpPr>
            <a:spLocks noGrp="1"/>
          </p:cNvSpPr>
          <p:nvPr>
            <p:ph type="body" sz="quarter" idx="14"/>
          </p:nvPr>
        </p:nvSpPr>
        <p:spPr>
          <a:xfrm>
            <a:off x="2743200" y="1238971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3" name="Szöveg helye 10"/>
          <p:cNvSpPr>
            <a:spLocks noGrp="1"/>
          </p:cNvSpPr>
          <p:nvPr>
            <p:ph type="body" sz="quarter" idx="15"/>
          </p:nvPr>
        </p:nvSpPr>
        <p:spPr>
          <a:xfrm>
            <a:off x="4648200" y="1238971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4" name="Szöveg helye 10"/>
          <p:cNvSpPr>
            <a:spLocks noGrp="1"/>
          </p:cNvSpPr>
          <p:nvPr>
            <p:ph type="body" sz="quarter" idx="16"/>
          </p:nvPr>
        </p:nvSpPr>
        <p:spPr>
          <a:xfrm>
            <a:off x="6553200" y="1238971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25" name="Szöveg helye 10"/>
          <p:cNvSpPr>
            <a:spLocks noGrp="1"/>
          </p:cNvSpPr>
          <p:nvPr>
            <p:ph type="body" sz="quarter" idx="17"/>
          </p:nvPr>
        </p:nvSpPr>
        <p:spPr>
          <a:xfrm>
            <a:off x="8458200" y="1238971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36" name="Szöveg helye 10"/>
          <p:cNvSpPr>
            <a:spLocks noGrp="1"/>
          </p:cNvSpPr>
          <p:nvPr>
            <p:ph type="body" sz="quarter" idx="18"/>
          </p:nvPr>
        </p:nvSpPr>
        <p:spPr>
          <a:xfrm>
            <a:off x="838200" y="2888817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37" name="Szöveg helye 10"/>
          <p:cNvSpPr>
            <a:spLocks noGrp="1"/>
          </p:cNvSpPr>
          <p:nvPr>
            <p:ph type="body" sz="quarter" idx="19"/>
          </p:nvPr>
        </p:nvSpPr>
        <p:spPr>
          <a:xfrm>
            <a:off x="2743200" y="2888817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38" name="Szöveg helye 10"/>
          <p:cNvSpPr>
            <a:spLocks noGrp="1"/>
          </p:cNvSpPr>
          <p:nvPr>
            <p:ph type="body" sz="quarter" idx="20"/>
          </p:nvPr>
        </p:nvSpPr>
        <p:spPr>
          <a:xfrm>
            <a:off x="4648200" y="2888817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39" name="Szöveg helye 10"/>
          <p:cNvSpPr>
            <a:spLocks noGrp="1"/>
          </p:cNvSpPr>
          <p:nvPr>
            <p:ph type="body" sz="quarter" idx="21"/>
          </p:nvPr>
        </p:nvSpPr>
        <p:spPr>
          <a:xfrm>
            <a:off x="6553200" y="2888817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0" name="Szöveg helye 10"/>
          <p:cNvSpPr>
            <a:spLocks noGrp="1"/>
          </p:cNvSpPr>
          <p:nvPr>
            <p:ph type="body" sz="quarter" idx="22"/>
          </p:nvPr>
        </p:nvSpPr>
        <p:spPr>
          <a:xfrm>
            <a:off x="8458200" y="2888817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1" name="Szöveg helye 10"/>
          <p:cNvSpPr>
            <a:spLocks noGrp="1"/>
          </p:cNvSpPr>
          <p:nvPr>
            <p:ph type="body" sz="quarter" idx="23"/>
          </p:nvPr>
        </p:nvSpPr>
        <p:spPr>
          <a:xfrm>
            <a:off x="838200" y="4538663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2" name="Szöveg helye 10"/>
          <p:cNvSpPr>
            <a:spLocks noGrp="1"/>
          </p:cNvSpPr>
          <p:nvPr>
            <p:ph type="body" sz="quarter" idx="24"/>
          </p:nvPr>
        </p:nvSpPr>
        <p:spPr>
          <a:xfrm>
            <a:off x="2743200" y="4538663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3" name="Szöveg helye 10"/>
          <p:cNvSpPr>
            <a:spLocks noGrp="1"/>
          </p:cNvSpPr>
          <p:nvPr>
            <p:ph type="body" sz="quarter" idx="25"/>
          </p:nvPr>
        </p:nvSpPr>
        <p:spPr>
          <a:xfrm>
            <a:off x="4648200" y="4538663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4" name="Szöveg helye 10"/>
          <p:cNvSpPr>
            <a:spLocks noGrp="1"/>
          </p:cNvSpPr>
          <p:nvPr>
            <p:ph type="body" sz="quarter" idx="26"/>
          </p:nvPr>
        </p:nvSpPr>
        <p:spPr>
          <a:xfrm>
            <a:off x="6553200" y="4538663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5" name="Szöveg helye 10"/>
          <p:cNvSpPr>
            <a:spLocks noGrp="1"/>
          </p:cNvSpPr>
          <p:nvPr>
            <p:ph type="body" sz="quarter" idx="27"/>
          </p:nvPr>
        </p:nvSpPr>
        <p:spPr>
          <a:xfrm>
            <a:off x="8458200" y="4538663"/>
            <a:ext cx="1905000" cy="16498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 bIns="180000">
            <a:normAutofit/>
          </a:bodyPr>
          <a:lstStyle>
            <a:lvl1pPr>
              <a:defRPr lang="hu-H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32443402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ó címm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7" name="Médiafájl helye 6"/>
          <p:cNvSpPr>
            <a:spLocks noGrp="1"/>
          </p:cNvSpPr>
          <p:nvPr>
            <p:ph type="media" sz="quarter" idx="13" hasCustomPrompt="1"/>
          </p:nvPr>
        </p:nvSpPr>
        <p:spPr>
          <a:xfrm>
            <a:off x="838200" y="1266825"/>
            <a:ext cx="8943975" cy="49339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hu-HU"/>
              <a:t>Videó beszúrása</a:t>
            </a:r>
          </a:p>
        </p:txBody>
      </p:sp>
      <p:sp>
        <p:nvSpPr>
          <p:cNvPr id="6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19915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8203130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7" name="Médiafájl helye 6"/>
          <p:cNvSpPr>
            <a:spLocks noGrp="1"/>
          </p:cNvSpPr>
          <p:nvPr>
            <p:ph type="media" sz="quarter" idx="13" hasCustomPrompt="1"/>
          </p:nvPr>
        </p:nvSpPr>
        <p:spPr>
          <a:xfrm>
            <a:off x="838200" y="771525"/>
            <a:ext cx="9953625" cy="54197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hu-HU"/>
              <a:t>Videó beszúrása</a:t>
            </a:r>
          </a:p>
        </p:txBody>
      </p:sp>
    </p:spTree>
    <p:extLst>
      <p:ext uri="{BB962C8B-B14F-4D97-AF65-F5344CB8AC3E}">
        <p14:creationId xmlns:p14="http://schemas.microsoft.com/office/powerpoint/2010/main" val="30776295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címm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9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27866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11" name="Diagram helye 10"/>
          <p:cNvSpPr>
            <a:spLocks noGrp="1"/>
          </p:cNvSpPr>
          <p:nvPr>
            <p:ph type="chart" sz="quarter" idx="13"/>
          </p:nvPr>
        </p:nvSpPr>
        <p:spPr>
          <a:xfrm>
            <a:off x="838200" y="1337252"/>
            <a:ext cx="10277475" cy="4752975"/>
          </a:xfrm>
        </p:spPr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408405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ép kis szövegg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3076575" y="1158875"/>
            <a:ext cx="8288338" cy="5108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8200" y="1158875"/>
            <a:ext cx="2009775" cy="51085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8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896061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9254769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Elforgato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1933575" cy="5811838"/>
          </a:xfrm>
        </p:spPr>
        <p:txBody>
          <a:bodyPr vert="eaVert"/>
          <a:lstStyle>
            <a:lvl1pPr>
              <a:defRPr lang="hu-HU" sz="3200" b="1" kern="1200" dirty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marL="457200" indent="-4572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1pPr>
            <a:lvl2pPr marL="800100" indent="-342900">
              <a:buClr>
                <a:schemeClr val="accent1"/>
              </a:buClr>
              <a:buFont typeface="Arial" panose="020B0604020202020204" pitchFamily="34" charset="0"/>
              <a:buChar char="•"/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4iG BASIC PRESENTATION TEMPLATE | FOOTER</a:t>
            </a:r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63613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lválaszt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1609725"/>
            <a:ext cx="5067300" cy="942975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ELVÁLASZTÓ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838200" y="2552700"/>
            <a:ext cx="5067300" cy="1152525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</p:spTree>
    <p:extLst>
      <p:ext uri="{BB962C8B-B14F-4D97-AF65-F5344CB8AC3E}">
        <p14:creationId xmlns:p14="http://schemas.microsoft.com/office/powerpoint/2010/main" val="17086287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öszönő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Cím helye 1"/>
          <p:cNvSpPr>
            <a:spLocks noGrp="1"/>
          </p:cNvSpPr>
          <p:nvPr>
            <p:ph type="title" hasCustomPrompt="1"/>
          </p:nvPr>
        </p:nvSpPr>
        <p:spPr>
          <a:xfrm>
            <a:off x="838200" y="1609725"/>
            <a:ext cx="4985951" cy="17903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hu-HU"/>
              <a:t>KÖSZÖNÖM A FIGYELMET!</a:t>
            </a:r>
          </a:p>
        </p:txBody>
      </p:sp>
    </p:spTree>
    <p:extLst>
      <p:ext uri="{BB962C8B-B14F-4D97-AF65-F5344CB8AC3E}">
        <p14:creationId xmlns:p14="http://schemas.microsoft.com/office/powerpoint/2010/main" val="26521604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Elválaszt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ép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1609725"/>
            <a:ext cx="5067300" cy="942975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ELVÁLASZTÓ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838200" y="2552700"/>
            <a:ext cx="5067300" cy="1152525"/>
          </a:xfrm>
        </p:spPr>
        <p:txBody>
          <a:bodyPr>
            <a:normAutofit/>
          </a:bodyPr>
          <a:lstStyle>
            <a:lvl1pPr marL="0" indent="0" algn="l">
              <a:buNone/>
              <a:defRPr sz="2000" baseline="0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</p:spTree>
    <p:extLst>
      <p:ext uri="{BB962C8B-B14F-4D97-AF65-F5344CB8AC3E}">
        <p14:creationId xmlns:p14="http://schemas.microsoft.com/office/powerpoint/2010/main" val="23582807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jesképernyős ké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ép helye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1"/>
            <a:ext cx="12191999" cy="6858000"/>
          </a:xfrm>
        </p:spPr>
        <p:txBody>
          <a:bodyPr anchor="ctr"/>
          <a:lstStyle>
            <a:lvl1pPr algn="ctr">
              <a:defRPr baseline="0"/>
            </a:lvl1pPr>
          </a:lstStyle>
          <a:p>
            <a:r>
              <a:rPr lang="hu-HU"/>
              <a:t>Teljesképernyős kép beszúrásához kattintson ide</a:t>
            </a:r>
          </a:p>
        </p:txBody>
      </p:sp>
    </p:spTree>
    <p:extLst>
      <p:ext uri="{BB962C8B-B14F-4D97-AF65-F5344CB8AC3E}">
        <p14:creationId xmlns:p14="http://schemas.microsoft.com/office/powerpoint/2010/main" val="36704066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Alap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838200" y="1347787"/>
            <a:ext cx="10363200" cy="4595814"/>
          </a:xfrm>
        </p:spPr>
        <p:txBody>
          <a:bodyPr>
            <a:normAutofit/>
          </a:bodyPr>
          <a:lstStyle>
            <a:lvl1pPr marL="285750" indent="-285750" algn="l">
              <a:buClr>
                <a:schemeClr val="accent1"/>
              </a:buClr>
              <a:buFont typeface="Arial" panose="020B0604020202020204" pitchFamily="34" charset="0"/>
              <a:buChar char="•"/>
              <a:defRPr sz="18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 szöveg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10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096329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896061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2733675" y="1347787"/>
            <a:ext cx="6724650" cy="709612"/>
          </a:xfrm>
        </p:spPr>
        <p:txBody>
          <a:bodyPr>
            <a:noAutofit/>
          </a:bodyPr>
          <a:lstStyle>
            <a:lvl1pPr marL="0" indent="0" algn="l">
              <a:buNone/>
              <a:defRPr sz="20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 szöveg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>
          <a:xfrm>
            <a:off x="2733675" y="2171699"/>
            <a:ext cx="6724650" cy="3798887"/>
          </a:xfrm>
        </p:spPr>
        <p:txBody>
          <a:bodyPr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hu-HU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  <a:p>
            <a:pPr lvl="0"/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lvl="0"/>
            <a:endParaRPr lang="hu-HU"/>
          </a:p>
        </p:txBody>
      </p:sp>
      <p:sp>
        <p:nvSpPr>
          <p:cNvPr id="11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183614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elsorolá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200" y="406400"/>
            <a:ext cx="9927866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838200" y="1204332"/>
            <a:ext cx="10534650" cy="709612"/>
          </a:xfrm>
        </p:spPr>
        <p:txBody>
          <a:bodyPr>
            <a:noAutofit/>
          </a:bodyPr>
          <a:lstStyle>
            <a:lvl1pPr marL="0" indent="0" algn="l">
              <a:buNone/>
              <a:defRPr sz="20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 szöveg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>
          <a:xfrm>
            <a:off x="838200" y="2710249"/>
            <a:ext cx="4848225" cy="3260337"/>
          </a:xfrm>
        </p:spPr>
        <p:txBody>
          <a:bodyPr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hu-HU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  <a:p>
            <a:pPr lvl="0"/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lvl="0"/>
            <a:endParaRPr lang="hu-HU"/>
          </a:p>
        </p:txBody>
      </p:sp>
      <p:sp>
        <p:nvSpPr>
          <p:cNvPr id="10" name="Szöveg helye 4"/>
          <p:cNvSpPr>
            <a:spLocks noGrp="1"/>
          </p:cNvSpPr>
          <p:nvPr>
            <p:ph type="body" sz="quarter" idx="11"/>
          </p:nvPr>
        </p:nvSpPr>
        <p:spPr>
          <a:xfrm>
            <a:off x="6524625" y="2710249"/>
            <a:ext cx="4848225" cy="3260336"/>
          </a:xfrm>
        </p:spPr>
        <p:txBody>
          <a:bodyPr/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 lang="hu-HU" sz="16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  <a:p>
            <a:pPr lvl="0"/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hu-HU"/>
              <a:t>Mintaszöveg szerkesztése</a:t>
            </a:r>
          </a:p>
          <a:p>
            <a:pPr lvl="0"/>
            <a:endParaRPr lang="hu-HU"/>
          </a:p>
        </p:txBody>
      </p:sp>
      <p:sp>
        <p:nvSpPr>
          <p:cNvPr id="11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  <p:sp>
        <p:nvSpPr>
          <p:cNvPr id="6" name="Szöveg helye 5"/>
          <p:cNvSpPr>
            <a:spLocks noGrp="1"/>
          </p:cNvSpPr>
          <p:nvPr>
            <p:ph type="body" sz="quarter" idx="13"/>
          </p:nvPr>
        </p:nvSpPr>
        <p:spPr>
          <a:xfrm>
            <a:off x="838200" y="1996977"/>
            <a:ext cx="4848225" cy="63023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2" name="Szöveg helye 5"/>
          <p:cNvSpPr>
            <a:spLocks noGrp="1"/>
          </p:cNvSpPr>
          <p:nvPr>
            <p:ph type="body" sz="quarter" idx="14"/>
          </p:nvPr>
        </p:nvSpPr>
        <p:spPr>
          <a:xfrm>
            <a:off x="6524625" y="1996977"/>
            <a:ext cx="4848225" cy="63023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917159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 hasCustomPrompt="1"/>
          </p:nvPr>
        </p:nvSpPr>
        <p:spPr>
          <a:xfrm>
            <a:off x="838199" y="406400"/>
            <a:ext cx="9935817" cy="534987"/>
          </a:xfrm>
        </p:spPr>
        <p:txBody>
          <a:bodyPr anchor="t">
            <a:noAutofit/>
          </a:bodyPr>
          <a:lstStyle>
            <a:lvl1pPr algn="l"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 hasCustomPrompt="1"/>
          </p:nvPr>
        </p:nvSpPr>
        <p:spPr>
          <a:xfrm>
            <a:off x="838200" y="2047875"/>
            <a:ext cx="10363200" cy="3895725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 szöveg mintájának szerkesztéséhez</a:t>
            </a:r>
          </a:p>
        </p:txBody>
      </p:sp>
      <p:sp>
        <p:nvSpPr>
          <p:cNvPr id="8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10"/>
          </p:nvPr>
        </p:nvSpPr>
        <p:spPr>
          <a:xfrm>
            <a:off x="838200" y="1381125"/>
            <a:ext cx="10363200" cy="514350"/>
          </a:xfrm>
        </p:spPr>
        <p:txBody>
          <a:bodyPr/>
          <a:lstStyle>
            <a:lvl1pPr>
              <a:defRPr lang="hu-HU" sz="200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13" name="Dia számának helye 5"/>
          <p:cNvSpPr>
            <a:spLocks noGrp="1"/>
          </p:cNvSpPr>
          <p:nvPr>
            <p:ph type="sldNum" sz="quarter" idx="12"/>
          </p:nvPr>
        </p:nvSpPr>
        <p:spPr>
          <a:xfrm>
            <a:off x="11753850" y="6492875"/>
            <a:ext cx="438150" cy="365125"/>
          </a:xfrm>
        </p:spPr>
        <p:txBody>
          <a:bodyPr/>
          <a:lstStyle/>
          <a:p>
            <a:fld id="{084F0E43-EC6D-474A-A03A-1D600D39D828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85398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2F060C9-5D7B-B2CA-B687-B75B7223E6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029296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501" imgH="500" progId="TCLayout.ActiveDocument.1">
                  <p:embed/>
                </p:oleObj>
              </mc:Choice>
              <mc:Fallback>
                <p:oleObj name="think-cell Slide" r:id="rId34" imgW="501" imgH="5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2F060C9-5D7B-B2CA-B687-B75B7223E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1609725"/>
            <a:ext cx="5153025" cy="17903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3400028"/>
            <a:ext cx="5153025" cy="1022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név szerkesztése</a:t>
            </a:r>
            <a:br>
              <a:rPr lang="hu-HU"/>
            </a:br>
            <a:r>
              <a:rPr lang="hu-HU"/>
              <a:t>Mintabeosztás szerkesztése</a:t>
            </a:r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838200" y="6486093"/>
            <a:ext cx="777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hu-HU"/>
              <a:t>4iG BASIC PRESENTATION TEMPLATE | FOOTER</a:t>
            </a:r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11725275" y="6372226"/>
            <a:ext cx="466725" cy="4857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F0E43-EC6D-474A-A03A-1D600D39D828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9" r:id="rId2"/>
    <p:sldLayoutId id="2147483673" r:id="rId3"/>
    <p:sldLayoutId id="2147483690" r:id="rId4"/>
    <p:sldLayoutId id="2147483691" r:id="rId5"/>
    <p:sldLayoutId id="2147483649" r:id="rId6"/>
    <p:sldLayoutId id="2147483684" r:id="rId7"/>
    <p:sldLayoutId id="2147483685" r:id="rId8"/>
    <p:sldLayoutId id="2147483683" r:id="rId9"/>
    <p:sldLayoutId id="2147483651" r:id="rId10"/>
    <p:sldLayoutId id="2147483676" r:id="rId11"/>
    <p:sldLayoutId id="2147483675" r:id="rId12"/>
    <p:sldLayoutId id="2147483652" r:id="rId13"/>
    <p:sldLayoutId id="2147483653" r:id="rId14"/>
    <p:sldLayoutId id="2147483686" r:id="rId15"/>
    <p:sldLayoutId id="2147483687" r:id="rId16"/>
    <p:sldLayoutId id="2147483655" r:id="rId17"/>
    <p:sldLayoutId id="2147483678" r:id="rId18"/>
    <p:sldLayoutId id="2147483674" r:id="rId19"/>
    <p:sldLayoutId id="2147483677" r:id="rId20"/>
    <p:sldLayoutId id="2147483679" r:id="rId21"/>
    <p:sldLayoutId id="2147483680" r:id="rId22"/>
    <p:sldLayoutId id="2147483681" r:id="rId23"/>
    <p:sldLayoutId id="2147483682" r:id="rId24"/>
    <p:sldLayoutId id="2147483672" r:id="rId25"/>
    <p:sldLayoutId id="2147483654" r:id="rId26"/>
    <p:sldLayoutId id="2147483656" r:id="rId27"/>
    <p:sldLayoutId id="2147483657" r:id="rId28"/>
    <p:sldLayoutId id="2147483659" r:id="rId29"/>
    <p:sldLayoutId id="2147483688" r:id="rId3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emf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7.png"/><Relationship Id="rId18" Type="http://schemas.openxmlformats.org/officeDocument/2006/relationships/image" Target="../media/image32.jpeg"/><Relationship Id="rId26" Type="http://schemas.openxmlformats.org/officeDocument/2006/relationships/image" Target="../media/image40.png"/><Relationship Id="rId3" Type="http://schemas.openxmlformats.org/officeDocument/2006/relationships/image" Target="../media/image17.png"/><Relationship Id="rId21" Type="http://schemas.openxmlformats.org/officeDocument/2006/relationships/image" Target="../media/image35.svg"/><Relationship Id="rId34" Type="http://schemas.openxmlformats.org/officeDocument/2006/relationships/image" Target="../media/image48.pn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5" Type="http://schemas.openxmlformats.org/officeDocument/2006/relationships/image" Target="../media/image39.svg"/><Relationship Id="rId3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30.svg"/><Relationship Id="rId20" Type="http://schemas.openxmlformats.org/officeDocument/2006/relationships/image" Target="../media/image34.png"/><Relationship Id="rId29" Type="http://schemas.openxmlformats.org/officeDocument/2006/relationships/image" Target="../media/image4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32" Type="http://schemas.openxmlformats.org/officeDocument/2006/relationships/image" Target="../media/image46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svg"/><Relationship Id="rId28" Type="http://schemas.openxmlformats.org/officeDocument/2006/relationships/image" Target="../media/image42.png"/><Relationship Id="rId10" Type="http://schemas.openxmlformats.org/officeDocument/2006/relationships/image" Target="../media/image24.svg"/><Relationship Id="rId19" Type="http://schemas.openxmlformats.org/officeDocument/2006/relationships/image" Target="../media/image33.jpeg"/><Relationship Id="rId31" Type="http://schemas.openxmlformats.org/officeDocument/2006/relationships/image" Target="../media/image45.pn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jpeg"/><Relationship Id="rId8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27.png"/><Relationship Id="rId18" Type="http://schemas.openxmlformats.org/officeDocument/2006/relationships/image" Target="../media/image32.jpeg"/><Relationship Id="rId26" Type="http://schemas.openxmlformats.org/officeDocument/2006/relationships/image" Target="../media/image49.png"/><Relationship Id="rId3" Type="http://schemas.openxmlformats.org/officeDocument/2006/relationships/image" Target="../media/image17.png"/><Relationship Id="rId21" Type="http://schemas.openxmlformats.org/officeDocument/2006/relationships/image" Target="../media/image35.svg"/><Relationship Id="rId7" Type="http://schemas.openxmlformats.org/officeDocument/2006/relationships/image" Target="../media/image21.png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5" Type="http://schemas.openxmlformats.org/officeDocument/2006/relationships/image" Target="../media/image39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0.sv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svg"/><Relationship Id="rId11" Type="http://schemas.openxmlformats.org/officeDocument/2006/relationships/image" Target="../media/image25.png"/><Relationship Id="rId24" Type="http://schemas.openxmlformats.org/officeDocument/2006/relationships/image" Target="../media/image38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23" Type="http://schemas.openxmlformats.org/officeDocument/2006/relationships/image" Target="../media/image37.svg"/><Relationship Id="rId10" Type="http://schemas.openxmlformats.org/officeDocument/2006/relationships/image" Target="../media/image24.svg"/><Relationship Id="rId19" Type="http://schemas.openxmlformats.org/officeDocument/2006/relationships/image" Target="../media/image33.jpeg"/><Relationship Id="rId4" Type="http://schemas.openxmlformats.org/officeDocument/2006/relationships/image" Target="../media/image18.svg"/><Relationship Id="rId9" Type="http://schemas.openxmlformats.org/officeDocument/2006/relationships/image" Target="../media/image23.png"/><Relationship Id="rId14" Type="http://schemas.openxmlformats.org/officeDocument/2006/relationships/image" Target="../media/image28.svg"/><Relationship Id="rId22" Type="http://schemas.openxmlformats.org/officeDocument/2006/relationships/image" Target="../media/image3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image" Target="../media/image50.png"/><Relationship Id="rId7" Type="http://schemas.openxmlformats.org/officeDocument/2006/relationships/image" Target="../media/image12.png"/><Relationship Id="rId12" Type="http://schemas.openxmlformats.org/officeDocument/2006/relationships/image" Target="../media/image5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1" Type="http://schemas.openxmlformats.org/officeDocument/2006/relationships/image" Target="../media/image56.png"/><Relationship Id="rId5" Type="http://schemas.openxmlformats.org/officeDocument/2006/relationships/image" Target="../media/image52.png"/><Relationship Id="rId10" Type="http://schemas.openxmlformats.org/officeDocument/2006/relationships/image" Target="../media/image55.png"/><Relationship Id="rId4" Type="http://schemas.openxmlformats.org/officeDocument/2006/relationships/image" Target="../media/image51.png"/><Relationship Id="rId9" Type="http://schemas.openxmlformats.org/officeDocument/2006/relationships/image" Target="../media/image54.emf"/><Relationship Id="rId14" Type="http://schemas.openxmlformats.org/officeDocument/2006/relationships/image" Target="../media/image5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BB0EB9D-7345-DB91-4DEB-DCE385AAC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889"/>
            <a:ext cx="12192000" cy="6858000"/>
          </a:xfrm>
          <a:prstGeom prst="rect">
            <a:avLst/>
          </a:prstGeom>
        </p:spPr>
      </p:pic>
      <p:sp>
        <p:nvSpPr>
          <p:cNvPr id="7" name="Cím helye 1">
            <a:extLst>
              <a:ext uri="{FF2B5EF4-FFF2-40B4-BE49-F238E27FC236}">
                <a16:creationId xmlns:a16="http://schemas.microsoft.com/office/drawing/2014/main" id="{0C28C7D2-A630-6C7C-72EE-8DCABCD6483D}"/>
              </a:ext>
            </a:extLst>
          </p:cNvPr>
          <p:cNvSpPr txBox="1">
            <a:spLocks/>
          </p:cNvSpPr>
          <p:nvPr/>
        </p:nvSpPr>
        <p:spPr>
          <a:xfrm>
            <a:off x="757824" y="1004586"/>
            <a:ext cx="6622227" cy="242252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600"/>
              </a:lnSpc>
            </a:pPr>
            <a:r>
              <a:rPr lang="hu-HU" dirty="0" err="1"/>
              <a:t>Creating</a:t>
            </a:r>
            <a:r>
              <a:rPr lang="hu-HU" dirty="0"/>
              <a:t> a </a:t>
            </a:r>
            <a:r>
              <a:rPr lang="hu-HU" dirty="0" err="1"/>
              <a:t>new</a:t>
            </a:r>
            <a:endParaRPr lang="hu-HU" dirty="0"/>
          </a:p>
          <a:p>
            <a:pPr>
              <a:lnSpc>
                <a:spcPts val="3600"/>
              </a:lnSpc>
            </a:pPr>
            <a:r>
              <a:rPr lang="hu-HU" dirty="0"/>
              <a:t>5G-centric </a:t>
            </a:r>
            <a:r>
              <a:rPr lang="hu-HU" dirty="0" err="1"/>
              <a:t>regional</a:t>
            </a:r>
            <a:endParaRPr lang="hu-HU" dirty="0"/>
          </a:p>
          <a:p>
            <a:pPr>
              <a:lnSpc>
                <a:spcPts val="3600"/>
              </a:lnSpc>
            </a:pPr>
            <a:r>
              <a:rPr lang="hu-HU" dirty="0" err="1"/>
              <a:t>infocommunications</a:t>
            </a:r>
            <a:r>
              <a:rPr lang="hu-HU" dirty="0"/>
              <a:t> </a:t>
            </a:r>
            <a:r>
              <a:rPr lang="hu-HU" dirty="0" err="1"/>
              <a:t>group</a:t>
            </a:r>
            <a:endParaRPr lang="hu-HU" dirty="0"/>
          </a:p>
          <a:p>
            <a:endParaRPr lang="en-GB" sz="3600" dirty="0"/>
          </a:p>
        </p:txBody>
      </p:sp>
      <p:sp>
        <p:nvSpPr>
          <p:cNvPr id="8" name="Szöveg helye 2">
            <a:extLst>
              <a:ext uri="{FF2B5EF4-FFF2-40B4-BE49-F238E27FC236}">
                <a16:creationId xmlns:a16="http://schemas.microsoft.com/office/drawing/2014/main" id="{88AC4A21-D3A5-C8D0-1028-29DF705D073F}"/>
              </a:ext>
            </a:extLst>
          </p:cNvPr>
          <p:cNvSpPr txBox="1">
            <a:spLocks/>
          </p:cNvSpPr>
          <p:nvPr/>
        </p:nvSpPr>
        <p:spPr>
          <a:xfrm>
            <a:off x="757824" y="3102772"/>
            <a:ext cx="5173075" cy="269477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hu-HU" sz="240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sz="2200" dirty="0">
                <a:latin typeface="+mj-lt"/>
              </a:rPr>
              <a:t>Pál Zarándy</a:t>
            </a:r>
          </a:p>
          <a:p>
            <a:r>
              <a:rPr lang="hu-HU" sz="2200" dirty="0" err="1">
                <a:latin typeface="+mj-lt"/>
              </a:rPr>
              <a:t>Chief</a:t>
            </a:r>
            <a:r>
              <a:rPr lang="hu-HU" sz="2200" dirty="0">
                <a:latin typeface="+mj-lt"/>
              </a:rPr>
              <a:t> </a:t>
            </a:r>
            <a:r>
              <a:rPr lang="hu-HU" sz="2200" dirty="0" err="1">
                <a:latin typeface="+mj-lt"/>
              </a:rPr>
              <a:t>Strategy</a:t>
            </a:r>
            <a:r>
              <a:rPr lang="hu-HU" sz="2200" dirty="0">
                <a:latin typeface="+mj-lt"/>
              </a:rPr>
              <a:t> </a:t>
            </a:r>
            <a:r>
              <a:rPr lang="hu-HU" sz="2200" dirty="0" err="1">
                <a:latin typeface="+mj-lt"/>
              </a:rPr>
              <a:t>Officer</a:t>
            </a:r>
            <a:r>
              <a:rPr lang="hu-HU" sz="2200" dirty="0">
                <a:latin typeface="+mj-lt"/>
              </a:rPr>
              <a:t> </a:t>
            </a:r>
            <a:r>
              <a:rPr lang="hu-HU" sz="2200" dirty="0" err="1">
                <a:latin typeface="+mj-lt"/>
              </a:rPr>
              <a:t>for</a:t>
            </a:r>
            <a:r>
              <a:rPr lang="hu-HU" sz="2200" dirty="0">
                <a:latin typeface="+mj-lt"/>
              </a:rPr>
              <a:t> Mobile &amp; 5G</a:t>
            </a:r>
          </a:p>
          <a:p>
            <a:r>
              <a:rPr lang="hu-HU" sz="2200" dirty="0">
                <a:latin typeface="+mj-lt"/>
              </a:rPr>
              <a:t>4iG Group</a:t>
            </a:r>
          </a:p>
          <a:p>
            <a:endParaRPr lang="hu-HU" sz="2200" dirty="0">
              <a:latin typeface="+mj-lt"/>
            </a:endParaRPr>
          </a:p>
          <a:p>
            <a:r>
              <a:rPr lang="hu-HU" sz="2200" dirty="0">
                <a:latin typeface="+mj-lt"/>
              </a:rPr>
              <a:t>Skopje</a:t>
            </a:r>
          </a:p>
          <a:p>
            <a:r>
              <a:rPr lang="hu-HU" sz="2200" dirty="0">
                <a:latin typeface="+mj-lt"/>
              </a:rPr>
              <a:t>20 May 2025</a:t>
            </a:r>
            <a:endParaRPr lang="en-US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49111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zöveg helye 4">
            <a:extLst>
              <a:ext uri="{FF2B5EF4-FFF2-40B4-BE49-F238E27FC236}">
                <a16:creationId xmlns:a16="http://schemas.microsoft.com/office/drawing/2014/main" id="{8AE136A7-CCD4-47D9-7C28-501D0BEBA099}"/>
              </a:ext>
            </a:extLst>
          </p:cNvPr>
          <p:cNvSpPr txBox="1">
            <a:spLocks/>
          </p:cNvSpPr>
          <p:nvPr/>
        </p:nvSpPr>
        <p:spPr>
          <a:xfrm>
            <a:off x="4289741" y="1772648"/>
            <a:ext cx="3666580" cy="4927526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70EA1EBE-66A6-49CA-896F-5E0B97F639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52250" y="6492875"/>
            <a:ext cx="438150" cy="365125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F0E43-EC6D-474A-A03A-1D600D39D8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3D3F">
                    <a:tint val="75000"/>
                  </a:srgbClr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D3D3F">
                  <a:tint val="75000"/>
                </a:srgbClr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3" name="Cím 1">
            <a:extLst>
              <a:ext uri="{FF2B5EF4-FFF2-40B4-BE49-F238E27FC236}">
                <a16:creationId xmlns:a16="http://schemas.microsoft.com/office/drawing/2014/main" id="{B9CC78CB-4CA2-1831-1313-8FE060F539F1}"/>
              </a:ext>
            </a:extLst>
          </p:cNvPr>
          <p:cNvSpPr txBox="1">
            <a:spLocks/>
          </p:cNvSpPr>
          <p:nvPr/>
        </p:nvSpPr>
        <p:spPr>
          <a:xfrm>
            <a:off x="276223" y="241772"/>
            <a:ext cx="10385292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r>
              <a:rPr lang="hu-HU" sz="2400" dirty="0" err="1"/>
              <a:t>We</a:t>
            </a:r>
            <a:r>
              <a:rPr lang="hu-HU" sz="2400" dirty="0"/>
              <a:t> </a:t>
            </a:r>
            <a:r>
              <a:rPr lang="hu-HU" sz="2400" dirty="0" err="1"/>
              <a:t>are</a:t>
            </a:r>
            <a:r>
              <a:rPr lang="hu-HU" sz="2400" dirty="0"/>
              <a:t> </a:t>
            </a:r>
            <a:r>
              <a:rPr lang="hu-HU" sz="2400" dirty="0" err="1"/>
              <a:t>creating</a:t>
            </a:r>
            <a:r>
              <a:rPr lang="hu-HU" sz="2400" dirty="0"/>
              <a:t> a </a:t>
            </a:r>
            <a:r>
              <a:rPr lang="hu-HU" sz="2400" dirty="0" err="1"/>
              <a:t>new</a:t>
            </a:r>
            <a:r>
              <a:rPr lang="hu-HU" sz="2400" dirty="0"/>
              <a:t> </a:t>
            </a:r>
            <a:r>
              <a:rPr lang="hu-HU" sz="2400" dirty="0" err="1"/>
              <a:t>integrated</a:t>
            </a:r>
            <a:r>
              <a:rPr lang="hu-HU" sz="2400" dirty="0"/>
              <a:t> </a:t>
            </a:r>
            <a:r>
              <a:rPr lang="hu-HU" sz="2400" dirty="0" err="1"/>
              <a:t>infocommunications</a:t>
            </a:r>
            <a:r>
              <a:rPr lang="hu-HU" sz="2400" dirty="0"/>
              <a:t> </a:t>
            </a:r>
            <a:r>
              <a:rPr lang="hu-HU" sz="2400" dirty="0" err="1"/>
              <a:t>group</a:t>
            </a:r>
            <a:r>
              <a:rPr lang="hu-HU" sz="2400" dirty="0"/>
              <a:t> of </a:t>
            </a:r>
            <a:r>
              <a:rPr lang="hu-HU" sz="2400" dirty="0" err="1"/>
              <a:t>the</a:t>
            </a:r>
            <a:r>
              <a:rPr lang="hu-HU" sz="2400" dirty="0"/>
              <a:t> </a:t>
            </a:r>
            <a:r>
              <a:rPr lang="hu-HU" sz="2400" dirty="0" err="1"/>
              <a:t>region</a:t>
            </a: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A3D0623B-4760-F390-1443-59C3459BFCD3}"/>
              </a:ext>
            </a:extLst>
          </p:cNvPr>
          <p:cNvSpPr txBox="1">
            <a:spLocks/>
          </p:cNvSpPr>
          <p:nvPr/>
        </p:nvSpPr>
        <p:spPr>
          <a:xfrm>
            <a:off x="11652250" y="6492875"/>
            <a:ext cx="4381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hu-H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4F0E43-EC6D-474A-A03A-1D600D39D828}" type="slidenum">
              <a:rPr lang="hu-HU" smtClean="0"/>
              <a:pPr/>
              <a:t>2</a:t>
            </a:fld>
            <a:endParaRPr lang="hu-HU"/>
          </a:p>
        </p:txBody>
      </p:sp>
      <p:sp>
        <p:nvSpPr>
          <p:cNvPr id="2" name="Alcím 2">
            <a:extLst>
              <a:ext uri="{FF2B5EF4-FFF2-40B4-BE49-F238E27FC236}">
                <a16:creationId xmlns:a16="http://schemas.microsoft.com/office/drawing/2014/main" id="{46F3EE4D-BFA1-B6C4-03E3-054C51B1A835}"/>
              </a:ext>
            </a:extLst>
          </p:cNvPr>
          <p:cNvSpPr txBox="1">
            <a:spLocks/>
          </p:cNvSpPr>
          <p:nvPr/>
        </p:nvSpPr>
        <p:spPr>
          <a:xfrm>
            <a:off x="4423192" y="2219634"/>
            <a:ext cx="3426618" cy="2754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576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Seeking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further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market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entry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opportunities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in </a:t>
            </a: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Western </a:t>
            </a:r>
            <a:r>
              <a:rPr lang="hu-HU" sz="2000" b="1" dirty="0" err="1">
                <a:solidFill>
                  <a:schemeClr val="tx2"/>
                </a:solidFill>
                <a:cs typeface="Rubik Black" pitchFamily="2" charset="-79"/>
              </a:rPr>
              <a:t>Balkans</a:t>
            </a: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and CEE</a:t>
            </a:r>
            <a:endParaRPr lang="hu-HU" sz="2000" b="1" dirty="0">
              <a:solidFill>
                <a:schemeClr val="tx2"/>
              </a:solidFill>
              <a:cs typeface="Rubik Black" pitchFamily="2" charset="-79"/>
            </a:endParaRPr>
          </a:p>
          <a:p>
            <a:pPr marL="36576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8.000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employees</a:t>
            </a:r>
            <a:endParaRPr lang="hu-HU" sz="2000" dirty="0">
              <a:solidFill>
                <a:schemeClr val="tx2"/>
              </a:solidFill>
              <a:cs typeface="Rubik Black" pitchFamily="2" charset="-79"/>
            </a:endParaRPr>
          </a:p>
          <a:p>
            <a:pPr marL="36576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10 </a:t>
            </a:r>
            <a:r>
              <a:rPr lang="hu-HU" sz="2000" b="1" dirty="0" err="1">
                <a:solidFill>
                  <a:schemeClr val="tx2"/>
                </a:solidFill>
                <a:cs typeface="Rubik Black" pitchFamily="2" charset="-79"/>
              </a:rPr>
              <a:t>million</a:t>
            </a: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subscribtion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 </a:t>
            </a:r>
            <a:r>
              <a:rPr lang="hu-HU" sz="2000" dirty="0" err="1">
                <a:solidFill>
                  <a:schemeClr val="tx2"/>
                </a:solidFill>
                <a:cs typeface="Rubik Black" pitchFamily="2" charset="-79"/>
              </a:rPr>
              <a:t>base</a:t>
            </a:r>
            <a:endParaRPr lang="hu-HU" sz="2000" dirty="0">
              <a:solidFill>
                <a:schemeClr val="tx2"/>
              </a:solidFill>
              <a:cs typeface="Rubik Black" pitchFamily="2" charset="-79"/>
            </a:endParaRPr>
          </a:p>
          <a:p>
            <a:pPr marL="365760" indent="-3429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1.8bn EUR </a:t>
            </a:r>
            <a:r>
              <a:rPr lang="hu-HU" sz="2000" b="1" dirty="0" err="1">
                <a:solidFill>
                  <a:schemeClr val="tx2"/>
                </a:solidFill>
                <a:cs typeface="Rubik Black" pitchFamily="2" charset="-79"/>
              </a:rPr>
              <a:t>revenue</a:t>
            </a:r>
            <a:r>
              <a:rPr lang="hu-HU" sz="2000" b="1" dirty="0">
                <a:solidFill>
                  <a:schemeClr val="tx2"/>
                </a:solidFill>
                <a:cs typeface="Rubik Black" pitchFamily="2" charset="-79"/>
              </a:rPr>
              <a:t>, 595mn EUR EBITDA </a:t>
            </a:r>
            <a:r>
              <a:rPr lang="hu-HU" sz="2000" dirty="0">
                <a:solidFill>
                  <a:schemeClr val="tx2"/>
                </a:solidFill>
                <a:cs typeface="Rubik Black" pitchFamily="2" charset="-79"/>
              </a:rPr>
              <a:t>in 2024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87E9C17E-3197-887D-AA95-E84D5A2AE7A6}"/>
              </a:ext>
            </a:extLst>
          </p:cNvPr>
          <p:cNvSpPr/>
          <p:nvPr/>
        </p:nvSpPr>
        <p:spPr>
          <a:xfrm>
            <a:off x="4289741" y="1436655"/>
            <a:ext cx="3666581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600" b="1" dirty="0">
                <a:solidFill>
                  <a:srgbClr val="FFFFFF"/>
                </a:solidFill>
                <a:ea typeface="Calibri Light" charset="0"/>
              </a:rPr>
              <a:t>Bridging 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Hungary and </a:t>
            </a:r>
            <a:r>
              <a:rPr lang="en-US" sz="1600" b="1" dirty="0">
                <a:solidFill>
                  <a:srgbClr val="FFFFFF"/>
                </a:solidFill>
                <a:ea typeface="Calibri Light" charset="0"/>
              </a:rPr>
              <a:t>EU with „pre-EU” countries</a:t>
            </a:r>
          </a:p>
        </p:txBody>
      </p:sp>
      <p:sp>
        <p:nvSpPr>
          <p:cNvPr id="10" name="Szöveg helye 4">
            <a:extLst>
              <a:ext uri="{FF2B5EF4-FFF2-40B4-BE49-F238E27FC236}">
                <a16:creationId xmlns:a16="http://schemas.microsoft.com/office/drawing/2014/main" id="{001CB113-CEFA-768D-0AB3-0568BF9B79A2}"/>
              </a:ext>
            </a:extLst>
          </p:cNvPr>
          <p:cNvSpPr txBox="1">
            <a:spLocks/>
          </p:cNvSpPr>
          <p:nvPr/>
        </p:nvSpPr>
        <p:spPr>
          <a:xfrm>
            <a:off x="397152" y="1772648"/>
            <a:ext cx="3666580" cy="4528147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320837-1D3B-128D-20EA-E2B9BE8FB42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152" y="2018979"/>
            <a:ext cx="3919530" cy="4521754"/>
          </a:xfrm>
          <a:prstGeom prst="rect">
            <a:avLst/>
          </a:prstGeom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506F67AE-84CD-574D-9950-562D11DC50A1}"/>
              </a:ext>
            </a:extLst>
          </p:cNvPr>
          <p:cNvSpPr/>
          <p:nvPr/>
        </p:nvSpPr>
        <p:spPr>
          <a:xfrm>
            <a:off x="397154" y="1436655"/>
            <a:ext cx="3666582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>
                <a:solidFill>
                  <a:srgbClr val="FFFFFF"/>
                </a:solidFill>
                <a:ea typeface="Calibri Light" charset="0"/>
                <a:cs typeface="Co Headline" panose="020B0803060202020204" pitchFamily="34" charset="0"/>
              </a:rPr>
              <a:t>Hungary +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  <a:cs typeface="Co Headline" panose="020B0803060202020204" pitchFamily="34" charset="0"/>
              </a:rPr>
              <a:t>Balkans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  <a:cs typeface="Co Headline" panose="020B0803060202020204" pitchFamily="34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  <a:cs typeface="Co Headline" panose="020B0803060202020204" pitchFamily="34" charset="0"/>
              </a:rPr>
              <a:t>focu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14" name="Picture 2" descr="Flag of Albania - Wikipedia">
            <a:extLst>
              <a:ext uri="{FF2B5EF4-FFF2-40B4-BE49-F238E27FC236}">
                <a16:creationId xmlns:a16="http://schemas.microsoft.com/office/drawing/2014/main" id="{4A69D867-21A4-ED01-AA13-4367DD8AF6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38" y="5658859"/>
            <a:ext cx="1027135" cy="51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1C3E85F9-119F-760A-F9CF-84935A9A4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38" y="4924213"/>
            <a:ext cx="1027136" cy="51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AutoShape 2">
            <a:extLst>
              <a:ext uri="{FF2B5EF4-FFF2-40B4-BE49-F238E27FC236}">
                <a16:creationId xmlns:a16="http://schemas.microsoft.com/office/drawing/2014/main" id="{E9CB4F54-FCFB-60E3-4240-7C51C44F32A1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159044" y="3399817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2" name="Picture 2" descr="Flag of Hungary - Wikipedia">
            <a:extLst>
              <a:ext uri="{FF2B5EF4-FFF2-40B4-BE49-F238E27FC236}">
                <a16:creationId xmlns:a16="http://schemas.microsoft.com/office/drawing/2014/main" id="{FEC2232E-DF9D-93D5-7832-5E0F0ED094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38" y="2180221"/>
            <a:ext cx="1027136" cy="51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zöveg helye 4">
            <a:extLst>
              <a:ext uri="{FF2B5EF4-FFF2-40B4-BE49-F238E27FC236}">
                <a16:creationId xmlns:a16="http://schemas.microsoft.com/office/drawing/2014/main" id="{D7161DE9-F540-6E60-054B-8E39A9C0D5B7}"/>
              </a:ext>
            </a:extLst>
          </p:cNvPr>
          <p:cNvSpPr txBox="1">
            <a:spLocks/>
          </p:cNvSpPr>
          <p:nvPr/>
        </p:nvSpPr>
        <p:spPr>
          <a:xfrm>
            <a:off x="8149285" y="1780947"/>
            <a:ext cx="3666580" cy="4927526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0041245-D3AA-03EC-844F-4F62992AD2DD}"/>
              </a:ext>
            </a:extLst>
          </p:cNvPr>
          <p:cNvSpPr/>
          <p:nvPr/>
        </p:nvSpPr>
        <p:spPr>
          <a:xfrm>
            <a:off x="8149285" y="1444954"/>
            <a:ext cx="3666581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Strategic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partner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2050" name="Picture 2" descr="Hungary Icon&quot; Images – Browse 39 Stock Photos, Vectors, and Video | Adobe  Stock">
            <a:extLst>
              <a:ext uri="{FF2B5EF4-FFF2-40B4-BE49-F238E27FC236}">
                <a16:creationId xmlns:a16="http://schemas.microsoft.com/office/drawing/2014/main" id="{022DDC5E-4C4B-51A4-6944-B05604B048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9271" y="2204565"/>
            <a:ext cx="3610188" cy="1805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Rheinmetall Logo PNG Vector (SVG) Free Download">
            <a:extLst>
              <a:ext uri="{FF2B5EF4-FFF2-40B4-BE49-F238E27FC236}">
                <a16:creationId xmlns:a16="http://schemas.microsoft.com/office/drawing/2014/main" id="{B46F5B78-F4DC-1455-33F1-75E6F7032B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7862" y="4159186"/>
            <a:ext cx="2778038" cy="814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5907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379DE21-7CBC-7B00-2660-EF3CC68D46C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zöveg helye 4">
            <a:extLst>
              <a:ext uri="{FF2B5EF4-FFF2-40B4-BE49-F238E27FC236}">
                <a16:creationId xmlns:a16="http://schemas.microsoft.com/office/drawing/2014/main" id="{FA7D75A9-2270-E24D-983D-735653B09A50}"/>
              </a:ext>
            </a:extLst>
          </p:cNvPr>
          <p:cNvSpPr txBox="1">
            <a:spLocks/>
          </p:cNvSpPr>
          <p:nvPr/>
        </p:nvSpPr>
        <p:spPr>
          <a:xfrm>
            <a:off x="8328599" y="2516851"/>
            <a:ext cx="3601179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16" name="Szöveg helye 4">
            <a:extLst>
              <a:ext uri="{FF2B5EF4-FFF2-40B4-BE49-F238E27FC236}">
                <a16:creationId xmlns:a16="http://schemas.microsoft.com/office/drawing/2014/main" id="{0DFAABF9-9B7F-8346-7D0E-C2F6686F620E}"/>
              </a:ext>
            </a:extLst>
          </p:cNvPr>
          <p:cNvSpPr txBox="1">
            <a:spLocks/>
          </p:cNvSpPr>
          <p:nvPr/>
        </p:nvSpPr>
        <p:spPr>
          <a:xfrm>
            <a:off x="4400623" y="2516851"/>
            <a:ext cx="3682448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13" name="Szöveg helye 4">
            <a:extLst>
              <a:ext uri="{FF2B5EF4-FFF2-40B4-BE49-F238E27FC236}">
                <a16:creationId xmlns:a16="http://schemas.microsoft.com/office/drawing/2014/main" id="{19B48E4A-40BA-0A3B-D9E2-97C39F052888}"/>
              </a:ext>
            </a:extLst>
          </p:cNvPr>
          <p:cNvSpPr txBox="1">
            <a:spLocks/>
          </p:cNvSpPr>
          <p:nvPr/>
        </p:nvSpPr>
        <p:spPr>
          <a:xfrm>
            <a:off x="554439" y="2522052"/>
            <a:ext cx="3609619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208171A4-EACA-9E24-153B-A8940BBD4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F0E43-EC6D-474A-A03A-1D600D39D8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3D3F">
                    <a:tint val="75000"/>
                  </a:srgbClr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D3D3F">
                  <a:tint val="75000"/>
                </a:srgbClr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28" name="Cím 1">
            <a:extLst>
              <a:ext uri="{FF2B5EF4-FFF2-40B4-BE49-F238E27FC236}">
                <a16:creationId xmlns:a16="http://schemas.microsoft.com/office/drawing/2014/main" id="{CC61C39F-B932-1C04-B1A7-888096D03325}"/>
              </a:ext>
            </a:extLst>
          </p:cNvPr>
          <p:cNvSpPr txBox="1">
            <a:spLocks/>
          </p:cNvSpPr>
          <p:nvPr/>
        </p:nvSpPr>
        <p:spPr>
          <a:xfrm>
            <a:off x="398613" y="253794"/>
            <a:ext cx="10116987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r>
              <a:rPr lang="hu-HU" sz="2400" dirty="0"/>
              <a:t>4iG Group – </a:t>
            </a:r>
            <a:r>
              <a:rPr lang="hu-HU" sz="2400" dirty="0" err="1"/>
              <a:t>what</a:t>
            </a:r>
            <a:r>
              <a:rPr lang="hu-HU" sz="2400" dirty="0"/>
              <a:t> </a:t>
            </a:r>
            <a:r>
              <a:rPr lang="hu-HU" sz="2400" dirty="0" err="1"/>
              <a:t>do</a:t>
            </a:r>
            <a:r>
              <a:rPr lang="hu-HU" sz="2400" dirty="0"/>
              <a:t> </a:t>
            </a:r>
            <a:r>
              <a:rPr lang="hu-HU" sz="2400" dirty="0" err="1"/>
              <a:t>we</a:t>
            </a:r>
            <a:r>
              <a:rPr lang="hu-HU" sz="2400" dirty="0"/>
              <a:t> </a:t>
            </a:r>
            <a:r>
              <a:rPr lang="hu-HU" sz="2400" dirty="0" err="1"/>
              <a:t>do</a:t>
            </a:r>
            <a:r>
              <a:rPr lang="hu-HU" sz="2400" dirty="0"/>
              <a:t>? </a:t>
            </a: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1" name="Graphic 30" descr="Quadcopter with solid fill">
            <a:extLst>
              <a:ext uri="{FF2B5EF4-FFF2-40B4-BE49-F238E27FC236}">
                <a16:creationId xmlns:a16="http://schemas.microsoft.com/office/drawing/2014/main" id="{446FB92C-CB09-C008-4D65-81546E8B85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19834" y="3535616"/>
            <a:ext cx="914400" cy="914400"/>
          </a:xfrm>
          <a:prstGeom prst="rect">
            <a:avLst/>
          </a:prstGeom>
        </p:spPr>
      </p:pic>
      <p:pic>
        <p:nvPicPr>
          <p:cNvPr id="33" name="Graphic 32" descr="Satellite with solid fill">
            <a:extLst>
              <a:ext uri="{FF2B5EF4-FFF2-40B4-BE49-F238E27FC236}">
                <a16:creationId xmlns:a16="http://schemas.microsoft.com/office/drawing/2014/main" id="{3D4E5C3F-F6EC-B6FD-0E7A-871B9C8C24A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14959" y="3568654"/>
            <a:ext cx="796437" cy="796437"/>
          </a:xfrm>
          <a:prstGeom prst="rect">
            <a:avLst/>
          </a:prstGeom>
        </p:spPr>
      </p:pic>
      <p:pic>
        <p:nvPicPr>
          <p:cNvPr id="35" name="Graphic 34" descr="Smart Phone with solid fill">
            <a:extLst>
              <a:ext uri="{FF2B5EF4-FFF2-40B4-BE49-F238E27FC236}">
                <a16:creationId xmlns:a16="http://schemas.microsoft.com/office/drawing/2014/main" id="{BCB6FA63-EDDE-9C6B-390E-5F4DC95600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54125" y="3498032"/>
            <a:ext cx="854845" cy="854845"/>
          </a:xfrm>
          <a:prstGeom prst="rect">
            <a:avLst/>
          </a:prstGeom>
        </p:spPr>
      </p:pic>
      <p:pic>
        <p:nvPicPr>
          <p:cNvPr id="37" name="Graphic 36" descr="Internet Of Things with solid fill">
            <a:extLst>
              <a:ext uri="{FF2B5EF4-FFF2-40B4-BE49-F238E27FC236}">
                <a16:creationId xmlns:a16="http://schemas.microsoft.com/office/drawing/2014/main" id="{07AF3717-71DE-85B7-9773-8B486B4F2FE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3006" y="3505758"/>
            <a:ext cx="822182" cy="822182"/>
          </a:xfrm>
          <a:prstGeom prst="rect">
            <a:avLst/>
          </a:prstGeom>
        </p:spPr>
      </p:pic>
      <p:pic>
        <p:nvPicPr>
          <p:cNvPr id="39" name="Graphic 38" descr="Production with solid fill">
            <a:extLst>
              <a:ext uri="{FF2B5EF4-FFF2-40B4-BE49-F238E27FC236}">
                <a16:creationId xmlns:a16="http://schemas.microsoft.com/office/drawing/2014/main" id="{CC02901F-271F-7302-86B6-791F6C35818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18564" y="3459899"/>
            <a:ext cx="914400" cy="914400"/>
          </a:xfrm>
          <a:prstGeom prst="rect">
            <a:avLst/>
          </a:prstGeom>
        </p:spPr>
      </p:pic>
      <p:pic>
        <p:nvPicPr>
          <p:cNvPr id="43" name="Graphic 42" descr="Security camera with solid fill">
            <a:extLst>
              <a:ext uri="{FF2B5EF4-FFF2-40B4-BE49-F238E27FC236}">
                <a16:creationId xmlns:a16="http://schemas.microsoft.com/office/drawing/2014/main" id="{3CA0CE9F-C9E0-7601-8735-30EA9F967A5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08550" y="3505758"/>
            <a:ext cx="854845" cy="854845"/>
          </a:xfrm>
          <a:prstGeom prst="rect">
            <a:avLst/>
          </a:prstGeom>
        </p:spPr>
      </p:pic>
      <p:pic>
        <p:nvPicPr>
          <p:cNvPr id="45" name="Graphic 44" descr="Soldier male with solid fill">
            <a:extLst>
              <a:ext uri="{FF2B5EF4-FFF2-40B4-BE49-F238E27FC236}">
                <a16:creationId xmlns:a16="http://schemas.microsoft.com/office/drawing/2014/main" id="{FAA1169D-5CBD-61E5-0857-871EFB483D7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57769" y="3606811"/>
            <a:ext cx="772009" cy="772009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7D99A14-9A21-3BB6-200C-57E9DDC326B3}"/>
              </a:ext>
            </a:extLst>
          </p:cNvPr>
          <p:cNvSpPr/>
          <p:nvPr/>
        </p:nvSpPr>
        <p:spPr>
          <a:xfrm>
            <a:off x="554441" y="2528402"/>
            <a:ext cx="3600654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>
                <a:solidFill>
                  <a:srgbClr val="FFFFFF"/>
                </a:solidFill>
              </a:rPr>
              <a:t>IT &amp; </a:t>
            </a:r>
            <a:r>
              <a:rPr lang="hu-HU" sz="1600" b="1" dirty="0" err="1">
                <a:solidFill>
                  <a:srgbClr val="FFFFFF"/>
                </a:solidFill>
              </a:rPr>
              <a:t>system</a:t>
            </a:r>
            <a:r>
              <a:rPr lang="hu-HU" sz="1600" b="1" dirty="0">
                <a:solidFill>
                  <a:srgbClr val="FFFFFF"/>
                </a:solidFill>
              </a:rPr>
              <a:t> </a:t>
            </a:r>
            <a:r>
              <a:rPr lang="hu-HU" sz="1600" b="1" dirty="0" err="1">
                <a:solidFill>
                  <a:srgbClr val="FFFFFF"/>
                </a:solidFill>
              </a:rPr>
              <a:t>integration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4FF49F8-6CBB-33B2-7FE0-A6DE6923B2BC}"/>
              </a:ext>
            </a:extLst>
          </p:cNvPr>
          <p:cNvSpPr/>
          <p:nvPr/>
        </p:nvSpPr>
        <p:spPr>
          <a:xfrm>
            <a:off x="4409737" y="2543291"/>
            <a:ext cx="3673334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</a:rPr>
              <a:t>Telecommunication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B53D10C-4C9A-8D97-DA56-6C0CB273B09C}"/>
              </a:ext>
            </a:extLst>
          </p:cNvPr>
          <p:cNvSpPr/>
          <p:nvPr/>
        </p:nvSpPr>
        <p:spPr>
          <a:xfrm>
            <a:off x="8320161" y="2547040"/>
            <a:ext cx="3609617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</a:rPr>
              <a:t>Space</a:t>
            </a:r>
            <a:r>
              <a:rPr lang="hu-HU" sz="1600" b="1" dirty="0">
                <a:solidFill>
                  <a:srgbClr val="FFFFFF"/>
                </a:solidFill>
              </a:rPr>
              <a:t> &amp; </a:t>
            </a:r>
            <a:r>
              <a:rPr lang="hu-HU" sz="1600" b="1" dirty="0" err="1">
                <a:solidFill>
                  <a:srgbClr val="FFFFFF"/>
                </a:solidFill>
              </a:rPr>
              <a:t>defence</a:t>
            </a:r>
            <a:r>
              <a:rPr lang="hu-HU" sz="1600" b="1" dirty="0">
                <a:solidFill>
                  <a:srgbClr val="FFFFFF"/>
                </a:solidFill>
              </a:rPr>
              <a:t> </a:t>
            </a:r>
            <a:r>
              <a:rPr lang="hu-HU" sz="1600" b="1" dirty="0" err="1">
                <a:solidFill>
                  <a:srgbClr val="FFFFFF"/>
                </a:solidFill>
              </a:rPr>
              <a:t>technologie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AA1EAF2-250E-908D-4B0D-822D30B29BE0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02383" y="1067151"/>
            <a:ext cx="1367278" cy="1145095"/>
          </a:xfrm>
          <a:prstGeom prst="rect">
            <a:avLst/>
          </a:prstGeom>
        </p:spPr>
      </p:pic>
      <p:pic>
        <p:nvPicPr>
          <p:cNvPr id="1034" name="Picture 10" descr="Sim Card Icon Images – Browse 21,850 Stock Photos, Vectors, and Video |  Adobe Stock">
            <a:extLst>
              <a:ext uri="{FF2B5EF4-FFF2-40B4-BE49-F238E27FC236}">
                <a16:creationId xmlns:a16="http://schemas.microsoft.com/office/drawing/2014/main" id="{04F3FF29-D3BD-BA16-3CB6-5E21CBA51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410" y="3371703"/>
            <a:ext cx="1325643" cy="1060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mart watch icon with heart. icon related to technology ...">
            <a:extLst>
              <a:ext uri="{FF2B5EF4-FFF2-40B4-BE49-F238E27FC236}">
                <a16:creationId xmlns:a16="http://schemas.microsoft.com/office/drawing/2014/main" id="{3A9E67B0-6BC6-CFF7-BF0D-54B7D7BF19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318" y="3422673"/>
            <a:ext cx="1021013" cy="102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Shield Tick with solid fill">
            <a:extLst>
              <a:ext uri="{FF2B5EF4-FFF2-40B4-BE49-F238E27FC236}">
                <a16:creationId xmlns:a16="http://schemas.microsoft.com/office/drawing/2014/main" id="{BD2E2D58-5117-E07C-8EB3-032B3B12227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296234" y="3567186"/>
            <a:ext cx="706344" cy="706344"/>
          </a:xfrm>
          <a:prstGeom prst="rect">
            <a:avLst/>
          </a:prstGeom>
        </p:spPr>
      </p:pic>
      <p:pic>
        <p:nvPicPr>
          <p:cNvPr id="9" name="Graphic 8" descr="Television with solid fill">
            <a:extLst>
              <a:ext uri="{FF2B5EF4-FFF2-40B4-BE49-F238E27FC236}">
                <a16:creationId xmlns:a16="http://schemas.microsoft.com/office/drawing/2014/main" id="{F017E3E0-0EB5-8C05-426C-9C2B04728EA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981303" y="3429000"/>
            <a:ext cx="914400" cy="914400"/>
          </a:xfrm>
          <a:prstGeom prst="rect">
            <a:avLst/>
          </a:prstGeom>
        </p:spPr>
      </p:pic>
      <p:pic>
        <p:nvPicPr>
          <p:cNvPr id="10" name="Graphic 9" descr="Quadcopter with solid fill">
            <a:extLst>
              <a:ext uri="{FF2B5EF4-FFF2-40B4-BE49-F238E27FC236}">
                <a16:creationId xmlns:a16="http://schemas.microsoft.com/office/drawing/2014/main" id="{434748AD-BA11-E52C-76AA-41CCD78EEA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2612" y="3751882"/>
            <a:ext cx="521648" cy="521648"/>
          </a:xfrm>
          <a:prstGeom prst="rect">
            <a:avLst/>
          </a:prstGeom>
        </p:spPr>
      </p:pic>
      <p:pic>
        <p:nvPicPr>
          <p:cNvPr id="17" name="Graphic 16" descr="No sign outline">
            <a:extLst>
              <a:ext uri="{FF2B5EF4-FFF2-40B4-BE49-F238E27FC236}">
                <a16:creationId xmlns:a16="http://schemas.microsoft.com/office/drawing/2014/main" id="{EBC8A439-621E-D65F-52EE-942C8A3A7C27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280490" y="3590968"/>
            <a:ext cx="772009" cy="7720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6DCB023-315E-5787-CA56-7C86694DA7C3}"/>
              </a:ext>
            </a:extLst>
          </p:cNvPr>
          <p:cNvSpPr txBox="1"/>
          <p:nvPr/>
        </p:nvSpPr>
        <p:spPr>
          <a:xfrm>
            <a:off x="819317" y="3736749"/>
            <a:ext cx="425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>
                <a:solidFill>
                  <a:srgbClr val="FFFFFF"/>
                </a:solidFill>
              </a:rPr>
              <a:t>AI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4AD1E50-2362-665A-8C77-8B22D15FD43A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15602" y="5171127"/>
            <a:ext cx="1267456" cy="808109"/>
          </a:xfrm>
          <a:prstGeom prst="rect">
            <a:avLst/>
          </a:prstGeom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D644585C-26C2-F524-E5A2-7D1D77DCE5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7488" y="5294604"/>
            <a:ext cx="1238534" cy="619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One – ez a 4iG csoport új távközlési márkaneve januártól - mfor.hu">
            <a:extLst>
              <a:ext uri="{FF2B5EF4-FFF2-40B4-BE49-F238E27FC236}">
                <a16:creationId xmlns:a16="http://schemas.microsoft.com/office/drawing/2014/main" id="{1DE0C8D5-2489-0607-0925-2D66DE8D1F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3512" y="5101731"/>
            <a:ext cx="1252788" cy="928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Remred | Engineering the Technology of Tomorrow">
            <a:extLst>
              <a:ext uri="{FF2B5EF4-FFF2-40B4-BE49-F238E27FC236}">
                <a16:creationId xmlns:a16="http://schemas.microsoft.com/office/drawing/2014/main" id="{41A3638F-168E-3FC6-0A56-90B1141439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1735" y="5325816"/>
            <a:ext cx="1662115" cy="379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Kép 239" descr="A képen embléma látható&#10;&#10;Automatikusan generált leírás">
            <a:extLst>
              <a:ext uri="{FF2B5EF4-FFF2-40B4-BE49-F238E27FC236}">
                <a16:creationId xmlns:a16="http://schemas.microsoft.com/office/drawing/2014/main" id="{CC15DD10-E01E-0B64-3CA2-9B083CC75B00}"/>
              </a:ext>
            </a:extLst>
          </p:cNvPr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73" b="42663"/>
          <a:stretch/>
        </p:blipFill>
        <p:spPr>
          <a:xfrm>
            <a:off x="8461493" y="5292173"/>
            <a:ext cx="1276529" cy="3340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76F037B-05C1-7DEF-797A-178C21E012D2}"/>
              </a:ext>
            </a:extLst>
          </p:cNvPr>
          <p:cNvPicPr>
            <a:picLocks noChangeAspect="1"/>
          </p:cNvPicPr>
          <p:nvPr/>
        </p:nvPicPr>
        <p:blipFill rotWithShape="1">
          <a:blip r:embed="rId31"/>
          <a:srcRect t="27245" b="34488"/>
          <a:stretch/>
        </p:blipFill>
        <p:spPr>
          <a:xfrm>
            <a:off x="2265603" y="5309042"/>
            <a:ext cx="1617893" cy="41274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81B3AE3-5A9F-18D3-253D-8C00C99CFAC5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9234836" y="5990134"/>
            <a:ext cx="1773964" cy="6777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4F1D277-AC5C-7A21-D567-AFEEE3B5F800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1360612" y="5826766"/>
            <a:ext cx="1944015" cy="78012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96EBAE3B-2EA1-417E-6080-C2A2D0CCC82E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5281805" y="6016129"/>
            <a:ext cx="1628389" cy="69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1101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CBA2BB-71B2-D09E-E801-CD518CA954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zöveg helye 4">
            <a:extLst>
              <a:ext uri="{FF2B5EF4-FFF2-40B4-BE49-F238E27FC236}">
                <a16:creationId xmlns:a16="http://schemas.microsoft.com/office/drawing/2014/main" id="{232E7DB5-651E-67C4-167D-B0DA11FDBC04}"/>
              </a:ext>
            </a:extLst>
          </p:cNvPr>
          <p:cNvSpPr txBox="1">
            <a:spLocks/>
          </p:cNvSpPr>
          <p:nvPr/>
        </p:nvSpPr>
        <p:spPr>
          <a:xfrm>
            <a:off x="8328599" y="2516851"/>
            <a:ext cx="3601179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16" name="Szöveg helye 4">
            <a:extLst>
              <a:ext uri="{FF2B5EF4-FFF2-40B4-BE49-F238E27FC236}">
                <a16:creationId xmlns:a16="http://schemas.microsoft.com/office/drawing/2014/main" id="{CA67984D-4228-4BB4-0A21-1F9990D0D640}"/>
              </a:ext>
            </a:extLst>
          </p:cNvPr>
          <p:cNvSpPr txBox="1">
            <a:spLocks/>
          </p:cNvSpPr>
          <p:nvPr/>
        </p:nvSpPr>
        <p:spPr>
          <a:xfrm>
            <a:off x="4400623" y="2516851"/>
            <a:ext cx="3682448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13" name="Szöveg helye 4">
            <a:extLst>
              <a:ext uri="{FF2B5EF4-FFF2-40B4-BE49-F238E27FC236}">
                <a16:creationId xmlns:a16="http://schemas.microsoft.com/office/drawing/2014/main" id="{2921F95B-256D-5E57-5B8A-D2676F5BE936}"/>
              </a:ext>
            </a:extLst>
          </p:cNvPr>
          <p:cNvSpPr txBox="1">
            <a:spLocks/>
          </p:cNvSpPr>
          <p:nvPr/>
        </p:nvSpPr>
        <p:spPr>
          <a:xfrm>
            <a:off x="554439" y="2522052"/>
            <a:ext cx="3609619" cy="3046780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926B2D1E-0825-962E-507D-81A43F5BFC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F0E43-EC6D-474A-A03A-1D600D39D8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3D3F">
                    <a:tint val="75000"/>
                  </a:srgbClr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D3D3F">
                  <a:tint val="75000"/>
                </a:srgbClr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28" name="Cím 1">
            <a:extLst>
              <a:ext uri="{FF2B5EF4-FFF2-40B4-BE49-F238E27FC236}">
                <a16:creationId xmlns:a16="http://schemas.microsoft.com/office/drawing/2014/main" id="{DEED1606-C986-A888-AEBC-4B0E0C45C2E2}"/>
              </a:ext>
            </a:extLst>
          </p:cNvPr>
          <p:cNvSpPr txBox="1">
            <a:spLocks/>
          </p:cNvSpPr>
          <p:nvPr/>
        </p:nvSpPr>
        <p:spPr>
          <a:xfrm>
            <a:off x="398613" y="253794"/>
            <a:ext cx="10116987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r>
              <a:rPr lang="hu-HU" sz="2400" dirty="0"/>
              <a:t>5G is a </a:t>
            </a:r>
            <a:r>
              <a:rPr lang="hu-HU" sz="2400" dirty="0" err="1"/>
              <a:t>central</a:t>
            </a:r>
            <a:r>
              <a:rPr lang="hu-HU" sz="2400" dirty="0"/>
              <a:t> </a:t>
            </a:r>
            <a:r>
              <a:rPr lang="hu-HU" sz="2400" dirty="0" err="1"/>
              <a:t>enabler</a:t>
            </a:r>
            <a:r>
              <a:rPr lang="hu-HU" sz="2400" dirty="0"/>
              <a:t> platform </a:t>
            </a:r>
            <a:r>
              <a:rPr lang="hu-HU" sz="2400" dirty="0" err="1"/>
              <a:t>for</a:t>
            </a:r>
            <a:r>
              <a:rPr lang="hu-HU" sz="2400" dirty="0"/>
              <a:t> 4iG </a:t>
            </a:r>
            <a:r>
              <a:rPr lang="hu-HU" sz="2400" dirty="0" err="1"/>
              <a:t>Group’s</a:t>
            </a:r>
            <a:r>
              <a:rPr lang="hu-HU" sz="2400" dirty="0"/>
              <a:t> </a:t>
            </a:r>
            <a:r>
              <a:rPr lang="hu-HU" sz="2400" dirty="0" err="1"/>
              <a:t>all</a:t>
            </a:r>
            <a:r>
              <a:rPr lang="hu-HU" sz="2400" dirty="0"/>
              <a:t> </a:t>
            </a:r>
            <a:r>
              <a:rPr lang="hu-HU" sz="2400" dirty="0" err="1"/>
              <a:t>three</a:t>
            </a:r>
            <a:r>
              <a:rPr lang="hu-HU" sz="2400" dirty="0"/>
              <a:t> </a:t>
            </a:r>
            <a:r>
              <a:rPr lang="hu-HU" sz="2400" dirty="0" err="1"/>
              <a:t>divisions</a:t>
            </a: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31" name="Graphic 30" descr="Quadcopter with solid fill">
            <a:extLst>
              <a:ext uri="{FF2B5EF4-FFF2-40B4-BE49-F238E27FC236}">
                <a16:creationId xmlns:a16="http://schemas.microsoft.com/office/drawing/2014/main" id="{F2EBC46D-7EFB-7861-5344-D9F6FE8E78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19834" y="3535616"/>
            <a:ext cx="914400" cy="914400"/>
          </a:xfrm>
          <a:prstGeom prst="rect">
            <a:avLst/>
          </a:prstGeom>
        </p:spPr>
      </p:pic>
      <p:pic>
        <p:nvPicPr>
          <p:cNvPr id="33" name="Graphic 32" descr="Satellite with solid fill">
            <a:extLst>
              <a:ext uri="{FF2B5EF4-FFF2-40B4-BE49-F238E27FC236}">
                <a16:creationId xmlns:a16="http://schemas.microsoft.com/office/drawing/2014/main" id="{2A916DB5-7A7A-0EC2-E9BE-77A6D999FB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14959" y="3568654"/>
            <a:ext cx="796437" cy="796437"/>
          </a:xfrm>
          <a:prstGeom prst="rect">
            <a:avLst/>
          </a:prstGeom>
        </p:spPr>
      </p:pic>
      <p:pic>
        <p:nvPicPr>
          <p:cNvPr id="35" name="Graphic 34" descr="Smart Phone with solid fill">
            <a:extLst>
              <a:ext uri="{FF2B5EF4-FFF2-40B4-BE49-F238E27FC236}">
                <a16:creationId xmlns:a16="http://schemas.microsoft.com/office/drawing/2014/main" id="{7CACFA16-7210-9295-DB92-156C13F72B5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254125" y="3498032"/>
            <a:ext cx="854845" cy="854845"/>
          </a:xfrm>
          <a:prstGeom prst="rect">
            <a:avLst/>
          </a:prstGeom>
        </p:spPr>
      </p:pic>
      <p:pic>
        <p:nvPicPr>
          <p:cNvPr id="37" name="Graphic 36" descr="Internet Of Things with solid fill">
            <a:extLst>
              <a:ext uri="{FF2B5EF4-FFF2-40B4-BE49-F238E27FC236}">
                <a16:creationId xmlns:a16="http://schemas.microsoft.com/office/drawing/2014/main" id="{CEE21652-9E73-DB2B-CDBE-B999763B786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3006" y="3505758"/>
            <a:ext cx="822182" cy="822182"/>
          </a:xfrm>
          <a:prstGeom prst="rect">
            <a:avLst/>
          </a:prstGeom>
        </p:spPr>
      </p:pic>
      <p:pic>
        <p:nvPicPr>
          <p:cNvPr id="39" name="Graphic 38" descr="Production with solid fill">
            <a:extLst>
              <a:ext uri="{FF2B5EF4-FFF2-40B4-BE49-F238E27FC236}">
                <a16:creationId xmlns:a16="http://schemas.microsoft.com/office/drawing/2014/main" id="{128B2403-C82A-A291-8FA1-9FDABFB74D4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18564" y="3459899"/>
            <a:ext cx="914400" cy="914400"/>
          </a:xfrm>
          <a:prstGeom prst="rect">
            <a:avLst/>
          </a:prstGeom>
        </p:spPr>
      </p:pic>
      <p:pic>
        <p:nvPicPr>
          <p:cNvPr id="43" name="Graphic 42" descr="Security camera with solid fill">
            <a:extLst>
              <a:ext uri="{FF2B5EF4-FFF2-40B4-BE49-F238E27FC236}">
                <a16:creationId xmlns:a16="http://schemas.microsoft.com/office/drawing/2014/main" id="{0F8AD0F1-28C2-4411-2919-3EA6B03884B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08550" y="3505758"/>
            <a:ext cx="854845" cy="854845"/>
          </a:xfrm>
          <a:prstGeom prst="rect">
            <a:avLst/>
          </a:prstGeom>
        </p:spPr>
      </p:pic>
      <p:pic>
        <p:nvPicPr>
          <p:cNvPr id="45" name="Graphic 44" descr="Soldier male with solid fill">
            <a:extLst>
              <a:ext uri="{FF2B5EF4-FFF2-40B4-BE49-F238E27FC236}">
                <a16:creationId xmlns:a16="http://schemas.microsoft.com/office/drawing/2014/main" id="{3555F5B0-1F1D-DE13-5596-3268D911F34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1157769" y="3606811"/>
            <a:ext cx="772009" cy="772009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6A112946-57C7-3C50-E19F-16B365259319}"/>
              </a:ext>
            </a:extLst>
          </p:cNvPr>
          <p:cNvSpPr/>
          <p:nvPr/>
        </p:nvSpPr>
        <p:spPr>
          <a:xfrm>
            <a:off x="554441" y="2528402"/>
            <a:ext cx="3600654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>
                <a:solidFill>
                  <a:srgbClr val="FFFFFF"/>
                </a:solidFill>
              </a:rPr>
              <a:t>IT &amp; </a:t>
            </a:r>
            <a:r>
              <a:rPr lang="hu-HU" sz="1600" b="1" dirty="0" err="1">
                <a:solidFill>
                  <a:srgbClr val="FFFFFF"/>
                </a:solidFill>
              </a:rPr>
              <a:t>system</a:t>
            </a:r>
            <a:r>
              <a:rPr lang="hu-HU" sz="1600" b="1" dirty="0">
                <a:solidFill>
                  <a:srgbClr val="FFFFFF"/>
                </a:solidFill>
              </a:rPr>
              <a:t> </a:t>
            </a:r>
            <a:r>
              <a:rPr lang="hu-HU" sz="1600" b="1" dirty="0" err="1">
                <a:solidFill>
                  <a:srgbClr val="FFFFFF"/>
                </a:solidFill>
              </a:rPr>
              <a:t>integration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AF42661-5137-AC08-6A87-30BD183A2069}"/>
              </a:ext>
            </a:extLst>
          </p:cNvPr>
          <p:cNvSpPr/>
          <p:nvPr/>
        </p:nvSpPr>
        <p:spPr>
          <a:xfrm>
            <a:off x="4409737" y="2543291"/>
            <a:ext cx="3673334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</a:rPr>
              <a:t>Telecommunication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03D40BA-2BDE-CF7C-E727-CD7B3EAE6CD5}"/>
              </a:ext>
            </a:extLst>
          </p:cNvPr>
          <p:cNvSpPr/>
          <p:nvPr/>
        </p:nvSpPr>
        <p:spPr>
          <a:xfrm>
            <a:off x="8320161" y="2547040"/>
            <a:ext cx="3609617" cy="412750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</a:rPr>
              <a:t>Space</a:t>
            </a:r>
            <a:r>
              <a:rPr lang="hu-HU" sz="1600" b="1" dirty="0">
                <a:solidFill>
                  <a:srgbClr val="FFFFFF"/>
                </a:solidFill>
              </a:rPr>
              <a:t> &amp; </a:t>
            </a:r>
            <a:r>
              <a:rPr lang="hu-HU" sz="1600" b="1" dirty="0" err="1">
                <a:solidFill>
                  <a:srgbClr val="FFFFFF"/>
                </a:solidFill>
              </a:rPr>
              <a:t>defence</a:t>
            </a:r>
            <a:r>
              <a:rPr lang="hu-HU" sz="1600" b="1" dirty="0">
                <a:solidFill>
                  <a:srgbClr val="FFFFFF"/>
                </a:solidFill>
              </a:rPr>
              <a:t> </a:t>
            </a:r>
            <a:r>
              <a:rPr lang="hu-HU" sz="1600" b="1" dirty="0" err="1">
                <a:solidFill>
                  <a:srgbClr val="FFFFFF"/>
                </a:solidFill>
              </a:rPr>
              <a:t>technologie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B7739FC-56B6-3586-E3E4-26589CD94B5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02383" y="1067151"/>
            <a:ext cx="1367278" cy="1145095"/>
          </a:xfrm>
          <a:prstGeom prst="rect">
            <a:avLst/>
          </a:prstGeom>
        </p:spPr>
      </p:pic>
      <p:pic>
        <p:nvPicPr>
          <p:cNvPr id="1034" name="Picture 10" descr="Sim Card Icon Images – Browse 21,850 Stock Photos, Vectors, and Video |  Adobe Stock">
            <a:extLst>
              <a:ext uri="{FF2B5EF4-FFF2-40B4-BE49-F238E27FC236}">
                <a16:creationId xmlns:a16="http://schemas.microsoft.com/office/drawing/2014/main" id="{3E2E9A33-E00D-9255-36D0-8A5EED9707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0410" y="3371703"/>
            <a:ext cx="1325643" cy="1060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Smart watch icon with heart. icon related to technology ...">
            <a:extLst>
              <a:ext uri="{FF2B5EF4-FFF2-40B4-BE49-F238E27FC236}">
                <a16:creationId xmlns:a16="http://schemas.microsoft.com/office/drawing/2014/main" id="{F98CFEA0-2A71-F15E-FBC8-B1F2336405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2318" y="3422673"/>
            <a:ext cx="1021013" cy="1021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Graphic 6" descr="Shield Tick with solid fill">
            <a:extLst>
              <a:ext uri="{FF2B5EF4-FFF2-40B4-BE49-F238E27FC236}">
                <a16:creationId xmlns:a16="http://schemas.microsoft.com/office/drawing/2014/main" id="{04BEBB48-35C8-8E60-7318-D2CBE4BAC71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296234" y="3567186"/>
            <a:ext cx="706344" cy="706344"/>
          </a:xfrm>
          <a:prstGeom prst="rect">
            <a:avLst/>
          </a:prstGeom>
        </p:spPr>
      </p:pic>
      <p:pic>
        <p:nvPicPr>
          <p:cNvPr id="9" name="Graphic 8" descr="Television with solid fill">
            <a:extLst>
              <a:ext uri="{FF2B5EF4-FFF2-40B4-BE49-F238E27FC236}">
                <a16:creationId xmlns:a16="http://schemas.microsoft.com/office/drawing/2014/main" id="{9E134244-5790-88D9-8A80-AD11B37D26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981303" y="3429000"/>
            <a:ext cx="914400" cy="914400"/>
          </a:xfrm>
          <a:prstGeom prst="rect">
            <a:avLst/>
          </a:prstGeom>
        </p:spPr>
      </p:pic>
      <p:pic>
        <p:nvPicPr>
          <p:cNvPr id="10" name="Graphic 9" descr="Quadcopter with solid fill">
            <a:extLst>
              <a:ext uri="{FF2B5EF4-FFF2-40B4-BE49-F238E27FC236}">
                <a16:creationId xmlns:a16="http://schemas.microsoft.com/office/drawing/2014/main" id="{C88018BD-0436-6DD3-D397-58264F80C9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2612" y="3751882"/>
            <a:ext cx="521648" cy="521648"/>
          </a:xfrm>
          <a:prstGeom prst="rect">
            <a:avLst/>
          </a:prstGeom>
        </p:spPr>
      </p:pic>
      <p:pic>
        <p:nvPicPr>
          <p:cNvPr id="17" name="Graphic 16" descr="No sign outline">
            <a:extLst>
              <a:ext uri="{FF2B5EF4-FFF2-40B4-BE49-F238E27FC236}">
                <a16:creationId xmlns:a16="http://schemas.microsoft.com/office/drawing/2014/main" id="{27A1CBB0-BCF9-5866-4568-A98331261A3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280490" y="3590968"/>
            <a:ext cx="772009" cy="772009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C0FBD20-CBFD-0508-0097-42BE21291BEB}"/>
              </a:ext>
            </a:extLst>
          </p:cNvPr>
          <p:cNvSpPr txBox="1"/>
          <p:nvPr/>
        </p:nvSpPr>
        <p:spPr>
          <a:xfrm>
            <a:off x="819317" y="3736749"/>
            <a:ext cx="425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>
                <a:solidFill>
                  <a:srgbClr val="FFFFFF"/>
                </a:solidFill>
              </a:rPr>
              <a:t>AI</a:t>
            </a:r>
            <a:endParaRPr lang="en-US" b="1" dirty="0">
              <a:solidFill>
                <a:srgbClr val="FFFFFF"/>
              </a:solidFill>
            </a:endParaRPr>
          </a:p>
        </p:txBody>
      </p:sp>
      <p:pic>
        <p:nvPicPr>
          <p:cNvPr id="2" name="Picture 26">
            <a:extLst>
              <a:ext uri="{FF2B5EF4-FFF2-40B4-BE49-F238E27FC236}">
                <a16:creationId xmlns:a16="http://schemas.microsoft.com/office/drawing/2014/main" id="{4FAC5A28-7B28-4D79-67B9-29934547F7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053" y="5412123"/>
            <a:ext cx="1080034" cy="64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3A2F015-8507-55CB-6A98-7825209A3064}"/>
              </a:ext>
            </a:extLst>
          </p:cNvPr>
          <p:cNvSpPr/>
          <p:nvPr/>
        </p:nvSpPr>
        <p:spPr>
          <a:xfrm>
            <a:off x="593986" y="4914899"/>
            <a:ext cx="11375338" cy="234275"/>
          </a:xfrm>
          <a:prstGeom prst="rect">
            <a:avLst/>
          </a:prstGeom>
          <a:pattFill prst="wd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6701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61E04D-E1C1-106C-D422-BF20ECC8DF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CCBB469B-A6B7-2C44-3935-5651E5D327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F0E43-EC6D-474A-A03A-1D600D39D828}" type="slidenum">
              <a:rPr kumimoji="0" lang="en-US" sz="1200" b="0" i="0" u="none" strike="noStrike" kern="1200" cap="none" spc="0" normalizeH="0" baseline="0" smtClean="0">
                <a:ln>
                  <a:noFill/>
                </a:ln>
                <a:solidFill>
                  <a:srgbClr val="3D3D3F">
                    <a:tint val="75000"/>
                  </a:srgbClr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dirty="0">
              <a:ln>
                <a:noFill/>
              </a:ln>
              <a:solidFill>
                <a:srgbClr val="3D3D3F">
                  <a:tint val="75000"/>
                </a:srgbClr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24D2CE32-3104-B680-5992-3FBA7CE47499}"/>
              </a:ext>
            </a:extLst>
          </p:cNvPr>
          <p:cNvSpPr txBox="1">
            <a:spLocks/>
          </p:cNvSpPr>
          <p:nvPr/>
        </p:nvSpPr>
        <p:spPr>
          <a:xfrm>
            <a:off x="301195" y="281043"/>
            <a:ext cx="10962331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Cím 1">
            <a:extLst>
              <a:ext uri="{FF2B5EF4-FFF2-40B4-BE49-F238E27FC236}">
                <a16:creationId xmlns:a16="http://schemas.microsoft.com/office/drawing/2014/main" id="{6080F0CF-9C12-AE25-ECE5-F4C7AF468E0C}"/>
              </a:ext>
            </a:extLst>
          </p:cNvPr>
          <p:cNvSpPr txBox="1">
            <a:spLocks/>
          </p:cNvSpPr>
          <p:nvPr/>
        </p:nvSpPr>
        <p:spPr>
          <a:xfrm>
            <a:off x="398613" y="253794"/>
            <a:ext cx="10962331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r>
              <a:rPr lang="hu-HU" sz="2400" dirty="0" err="1"/>
              <a:t>Highlights</a:t>
            </a:r>
            <a:r>
              <a:rPr lang="hu-HU" sz="2400" dirty="0"/>
              <a:t> of </a:t>
            </a:r>
            <a:r>
              <a:rPr lang="hu-HU" sz="2400" dirty="0" err="1"/>
              <a:t>our</a:t>
            </a:r>
            <a:r>
              <a:rPr lang="hu-HU" sz="2400" dirty="0"/>
              <a:t> 5G </a:t>
            </a:r>
            <a:r>
              <a:rPr lang="hu-HU" sz="2400" dirty="0" err="1"/>
              <a:t>leadership</a:t>
            </a:r>
            <a:r>
              <a:rPr lang="hu-HU" sz="2400" dirty="0"/>
              <a:t> </a:t>
            </a:r>
            <a:r>
              <a:rPr lang="hu-HU" sz="2400" dirty="0" err="1"/>
              <a:t>ambitions</a:t>
            </a:r>
            <a:endParaRPr lang="en-US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11" name="Szöveg helye 4">
            <a:extLst>
              <a:ext uri="{FF2B5EF4-FFF2-40B4-BE49-F238E27FC236}">
                <a16:creationId xmlns:a16="http://schemas.microsoft.com/office/drawing/2014/main" id="{07EAF265-6B5D-C7E0-E2D1-D6D04F92CC7A}"/>
              </a:ext>
            </a:extLst>
          </p:cNvPr>
          <p:cNvSpPr txBox="1">
            <a:spLocks/>
          </p:cNvSpPr>
          <p:nvPr/>
        </p:nvSpPr>
        <p:spPr>
          <a:xfrm>
            <a:off x="276223" y="1649431"/>
            <a:ext cx="3746500" cy="4927526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C6101651-FDDE-4641-085D-0551CEEF9D6F}"/>
              </a:ext>
            </a:extLst>
          </p:cNvPr>
          <p:cNvSpPr/>
          <p:nvPr/>
        </p:nvSpPr>
        <p:spPr>
          <a:xfrm>
            <a:off x="276223" y="1313438"/>
            <a:ext cx="3746501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Joining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O-RAN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Alliance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A7A603E-0640-2929-623C-F9441F5F14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684" y="2796343"/>
            <a:ext cx="3406434" cy="3394225"/>
          </a:xfrm>
          <a:prstGeom prst="rect">
            <a:avLst/>
          </a:prstGeom>
        </p:spPr>
      </p:pic>
      <p:sp>
        <p:nvSpPr>
          <p:cNvPr id="18" name="Szöveg helye 4">
            <a:extLst>
              <a:ext uri="{FF2B5EF4-FFF2-40B4-BE49-F238E27FC236}">
                <a16:creationId xmlns:a16="http://schemas.microsoft.com/office/drawing/2014/main" id="{818B6D88-B96E-0BCA-1E84-7B28C79C618E}"/>
              </a:ext>
            </a:extLst>
          </p:cNvPr>
          <p:cNvSpPr txBox="1">
            <a:spLocks/>
          </p:cNvSpPr>
          <p:nvPr/>
        </p:nvSpPr>
        <p:spPr>
          <a:xfrm>
            <a:off x="4222749" y="1649431"/>
            <a:ext cx="3746500" cy="4927526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600" b="1" i="1" dirty="0">
                <a:cs typeface="Rubik" pitchFamily="2" charset="-79"/>
              </a:rPr>
              <a:t> </a:t>
            </a:r>
            <a:endParaRPr lang="hu-HU" sz="1600" b="1" i="1" dirty="0">
              <a:cs typeface="Rubik" pitchFamily="2" charset="-79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AF82DE3-6BDE-C6BA-509D-8190DF2614C0}"/>
              </a:ext>
            </a:extLst>
          </p:cNvPr>
          <p:cNvSpPr/>
          <p:nvPr/>
        </p:nvSpPr>
        <p:spPr>
          <a:xfrm>
            <a:off x="4222749" y="1313438"/>
            <a:ext cx="3746501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>
                <a:solidFill>
                  <a:srgbClr val="FFFFFF"/>
                </a:solidFill>
              </a:rPr>
              <a:t>5G </a:t>
            </a:r>
            <a:r>
              <a:rPr lang="hu-HU" sz="1600" b="1" dirty="0" err="1">
                <a:solidFill>
                  <a:srgbClr val="FFFFFF"/>
                </a:solidFill>
              </a:rPr>
              <a:t>speed</a:t>
            </a:r>
            <a:r>
              <a:rPr lang="hu-HU" sz="1600" b="1" dirty="0">
                <a:solidFill>
                  <a:srgbClr val="FFFFFF"/>
                </a:solidFill>
              </a:rPr>
              <a:t> </a:t>
            </a:r>
            <a:r>
              <a:rPr lang="hu-HU" sz="1600" b="1" dirty="0" err="1">
                <a:solidFill>
                  <a:srgbClr val="FFFFFF"/>
                </a:solidFill>
              </a:rPr>
              <a:t>record</a:t>
            </a:r>
            <a:r>
              <a:rPr lang="hu-HU" sz="1600" b="1" dirty="0">
                <a:solidFill>
                  <a:srgbClr val="FFFFFF"/>
                </a:solidFill>
              </a:rPr>
              <a:t> in </a:t>
            </a:r>
            <a:r>
              <a:rPr lang="hu-HU" sz="1600" b="1" dirty="0" err="1">
                <a:solidFill>
                  <a:srgbClr val="FFFFFF"/>
                </a:solidFill>
              </a:rPr>
              <a:t>Montenegro</a:t>
            </a:r>
            <a:endParaRPr lang="en-US" sz="1600" b="1" dirty="0">
              <a:solidFill>
                <a:srgbClr val="FFFFFF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40CBDFA-8B7D-1407-3106-3E060BEF61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9908" y="2029442"/>
            <a:ext cx="1382913" cy="532950"/>
          </a:xfrm>
          <a:prstGeom prst="rect">
            <a:avLst/>
          </a:prstGeom>
        </p:spPr>
      </p:pic>
      <p:sp>
        <p:nvSpPr>
          <p:cNvPr id="24" name="Szöveg helye 4">
            <a:extLst>
              <a:ext uri="{FF2B5EF4-FFF2-40B4-BE49-F238E27FC236}">
                <a16:creationId xmlns:a16="http://schemas.microsoft.com/office/drawing/2014/main" id="{504E9C30-81ED-E8F5-DDF0-FF5822DC9A86}"/>
              </a:ext>
            </a:extLst>
          </p:cNvPr>
          <p:cNvSpPr txBox="1">
            <a:spLocks/>
          </p:cNvSpPr>
          <p:nvPr/>
        </p:nvSpPr>
        <p:spPr>
          <a:xfrm>
            <a:off x="8169274" y="1649431"/>
            <a:ext cx="3746500" cy="4927526"/>
          </a:xfrm>
          <a:prstGeom prst="roundRect">
            <a:avLst>
              <a:gd name="adj" fmla="val 1139"/>
            </a:avLst>
          </a:prstGeom>
          <a:gradFill>
            <a:gsLst>
              <a:gs pos="0">
                <a:schemeClr val="accent1">
                  <a:lumMod val="45000"/>
                  <a:lumOff val="55000"/>
                  <a:alpha val="0"/>
                </a:schemeClr>
              </a:gs>
              <a:gs pos="100000">
                <a:srgbClr val="FFFFFF"/>
              </a:gs>
            </a:gsLst>
            <a:lin ang="5400000" scaled="1"/>
          </a:gradFill>
        </p:spPr>
        <p:txBody>
          <a:bodyPr vert="horz" lIns="36000" tIns="274320" rIns="36000" bIns="45720" rtlCol="0">
            <a:norm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en-US" sz="1050" b="1" i="1" dirty="0">
                <a:cs typeface="Rubik" pitchFamily="2" charset="-79"/>
              </a:rPr>
              <a:t> </a:t>
            </a:r>
            <a:endParaRPr lang="hu-HU" sz="1050" b="1" i="1" dirty="0">
              <a:cs typeface="Rubik" pitchFamily="2" charset="-79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B50171E-DA81-767E-3DF4-B42CF0EA1165}"/>
              </a:ext>
            </a:extLst>
          </p:cNvPr>
          <p:cNvSpPr/>
          <p:nvPr/>
        </p:nvSpPr>
        <p:spPr>
          <a:xfrm>
            <a:off x="8169274" y="1313438"/>
            <a:ext cx="3746501" cy="515582"/>
          </a:xfrm>
          <a:prstGeom prst="roundRect">
            <a:avLst>
              <a:gd name="adj" fmla="val 5366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6GHz 5.5G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technology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trial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with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three</a:t>
            </a:r>
            <a:r>
              <a:rPr lang="hu-HU" sz="1600" b="1" dirty="0">
                <a:solidFill>
                  <a:srgbClr val="FFFFFF"/>
                </a:solidFill>
                <a:ea typeface="Calibri Light" charset="0"/>
              </a:rPr>
              <a:t> </a:t>
            </a:r>
            <a:r>
              <a:rPr lang="hu-HU" sz="1600" b="1" dirty="0" err="1">
                <a:solidFill>
                  <a:srgbClr val="FFFFFF"/>
                </a:solidFill>
                <a:ea typeface="Calibri Light" charset="0"/>
              </a:rPr>
              <a:t>universities</a:t>
            </a: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28" name="Cím 1">
            <a:extLst>
              <a:ext uri="{FF2B5EF4-FFF2-40B4-BE49-F238E27FC236}">
                <a16:creationId xmlns:a16="http://schemas.microsoft.com/office/drawing/2014/main" id="{39A726F5-A622-2243-4F62-A287398F339B}"/>
              </a:ext>
            </a:extLst>
          </p:cNvPr>
          <p:cNvSpPr txBox="1">
            <a:spLocks/>
          </p:cNvSpPr>
          <p:nvPr/>
        </p:nvSpPr>
        <p:spPr>
          <a:xfrm>
            <a:off x="1524731" y="924698"/>
            <a:ext cx="1370869" cy="4001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 algn="ctr">
              <a:defRPr/>
            </a:pPr>
            <a:r>
              <a:rPr lang="hu-HU" sz="2000" dirty="0"/>
              <a:t>2022</a:t>
            </a:r>
            <a:endParaRPr lang="en-US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7" name="Cím 1">
            <a:extLst>
              <a:ext uri="{FF2B5EF4-FFF2-40B4-BE49-F238E27FC236}">
                <a16:creationId xmlns:a16="http://schemas.microsoft.com/office/drawing/2014/main" id="{C537CC16-3FE0-0972-D6FD-6DEDF7CA4C97}"/>
              </a:ext>
            </a:extLst>
          </p:cNvPr>
          <p:cNvSpPr txBox="1">
            <a:spLocks/>
          </p:cNvSpPr>
          <p:nvPr/>
        </p:nvSpPr>
        <p:spPr>
          <a:xfrm>
            <a:off x="5410564" y="931981"/>
            <a:ext cx="1370869" cy="4001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 algn="ctr">
              <a:defRPr/>
            </a:pPr>
            <a:r>
              <a:rPr lang="hu-HU" sz="2000" dirty="0"/>
              <a:t>2023</a:t>
            </a:r>
            <a:endParaRPr lang="en-US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9" name="Cím 1">
            <a:extLst>
              <a:ext uri="{FF2B5EF4-FFF2-40B4-BE49-F238E27FC236}">
                <a16:creationId xmlns:a16="http://schemas.microsoft.com/office/drawing/2014/main" id="{D31AC3F9-5A76-ECE6-1B2B-7FFBECC1FC52}"/>
              </a:ext>
            </a:extLst>
          </p:cNvPr>
          <p:cNvSpPr txBox="1">
            <a:spLocks/>
          </p:cNvSpPr>
          <p:nvPr/>
        </p:nvSpPr>
        <p:spPr>
          <a:xfrm>
            <a:off x="9414239" y="951278"/>
            <a:ext cx="1370869" cy="40015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 algn="ctr">
              <a:defRPr/>
            </a:pPr>
            <a:r>
              <a:rPr lang="hu-HU" sz="2000" dirty="0"/>
              <a:t>2024</a:t>
            </a:r>
            <a:endParaRPr lang="en-US" sz="2000" dirty="0">
              <a:solidFill>
                <a:schemeClr val="bg2">
                  <a:lumMod val="50000"/>
                </a:schemeClr>
              </a:solidFill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7D502C04-820B-880B-DAC8-23BD8AF3790D}"/>
              </a:ext>
            </a:extLst>
          </p:cNvPr>
          <p:cNvCxnSpPr>
            <a:cxnSpLocks/>
          </p:cNvCxnSpPr>
          <p:nvPr/>
        </p:nvCxnSpPr>
        <p:spPr>
          <a:xfrm flipV="1">
            <a:off x="8864220" y="2737213"/>
            <a:ext cx="1235453" cy="1875339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FBCBE4F0-2631-D732-159E-1BD3AF02DA2C}"/>
              </a:ext>
            </a:extLst>
          </p:cNvPr>
          <p:cNvCxnSpPr>
            <a:cxnSpLocks/>
          </p:cNvCxnSpPr>
          <p:nvPr/>
        </p:nvCxnSpPr>
        <p:spPr>
          <a:xfrm flipH="1" flipV="1">
            <a:off x="10099673" y="2737213"/>
            <a:ext cx="1162479" cy="1905649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471FBF52-FD6D-8C41-97A7-DEE9FE84E940}"/>
              </a:ext>
            </a:extLst>
          </p:cNvPr>
          <p:cNvCxnSpPr>
            <a:cxnSpLocks/>
          </p:cNvCxnSpPr>
          <p:nvPr/>
        </p:nvCxnSpPr>
        <p:spPr>
          <a:xfrm flipH="1" flipV="1">
            <a:off x="8864220" y="4612552"/>
            <a:ext cx="2397932" cy="3031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>
            <a:extLst>
              <a:ext uri="{FF2B5EF4-FFF2-40B4-BE49-F238E27FC236}">
                <a16:creationId xmlns:a16="http://schemas.microsoft.com/office/drawing/2014/main" id="{77D44E97-BFEC-2B7C-3ABF-D16072605A6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08234" y="2858103"/>
            <a:ext cx="2774794" cy="1604611"/>
          </a:xfrm>
          <a:prstGeom prst="rect">
            <a:avLst/>
          </a:prstGeom>
        </p:spPr>
      </p:pic>
      <p:pic>
        <p:nvPicPr>
          <p:cNvPr id="64" name="Picture 2" descr="Flag of Hungary - Wikipedia">
            <a:extLst>
              <a:ext uri="{FF2B5EF4-FFF2-40B4-BE49-F238E27FC236}">
                <a16:creationId xmlns:a16="http://schemas.microsoft.com/office/drawing/2014/main" id="{EEB566BC-6A49-E63B-00BF-2E7750FE2D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5131" y="2444075"/>
            <a:ext cx="381000" cy="191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Flag of Albania - Wikipedia">
            <a:extLst>
              <a:ext uri="{FF2B5EF4-FFF2-40B4-BE49-F238E27FC236}">
                <a16:creationId xmlns:a16="http://schemas.microsoft.com/office/drawing/2014/main" id="{C7874F64-A898-A4A1-CA9D-2A2DE98113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2582" y="5437916"/>
            <a:ext cx="549951" cy="276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BA571ABB-178E-8F0F-EF10-2B63C2DA434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65375" y="4162052"/>
            <a:ext cx="3589109" cy="1918619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AD44EE39-79F7-55AC-379A-B579D12C073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35508" y="5839204"/>
            <a:ext cx="3780266" cy="3513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6EE184-E835-83BE-E8D5-E32BB09BBE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72154" y="2146319"/>
            <a:ext cx="3575552" cy="182345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968B160-8605-F7B5-E24B-E7BA3521892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70275" y="4688648"/>
            <a:ext cx="798661" cy="76473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846FE5C-E336-F50B-26BC-5A51F356286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961351" y="4744753"/>
            <a:ext cx="692415" cy="609916"/>
          </a:xfrm>
          <a:prstGeom prst="rect">
            <a:avLst/>
          </a:prstGeom>
        </p:spPr>
      </p:pic>
      <p:pic>
        <p:nvPicPr>
          <p:cNvPr id="66" name="Picture 4">
            <a:extLst>
              <a:ext uri="{FF2B5EF4-FFF2-40B4-BE49-F238E27FC236}">
                <a16:creationId xmlns:a16="http://schemas.microsoft.com/office/drawing/2014/main" id="{0784E18E-A708-9FC9-49E0-4C2D18F90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124" y="5437916"/>
            <a:ext cx="549950" cy="276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ome">
            <a:extLst>
              <a:ext uri="{FF2B5EF4-FFF2-40B4-BE49-F238E27FC236}">
                <a16:creationId xmlns:a16="http://schemas.microsoft.com/office/drawing/2014/main" id="{F51A7852-DF8B-BF53-3498-468B16ADCF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7406" y="1930911"/>
            <a:ext cx="207645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27453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4B76F-0366-6706-BFDD-780A09DD2E9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ia számának helye 4">
            <a:extLst>
              <a:ext uri="{FF2B5EF4-FFF2-40B4-BE49-F238E27FC236}">
                <a16:creationId xmlns:a16="http://schemas.microsoft.com/office/drawing/2014/main" id="{194C566A-B1F7-BC36-98A7-C213834FE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4F0E43-EC6D-474A-A03A-1D600D39D8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3D3F">
                    <a:tint val="75000"/>
                  </a:srgbClr>
                </a:solidFill>
                <a:effectLst/>
                <a:uLnTx/>
                <a:uFillTx/>
                <a:latin typeface="Rubik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3D3F">
                  <a:tint val="75000"/>
                </a:srgbClr>
              </a:solidFill>
              <a:effectLst/>
              <a:uLnTx/>
              <a:uFillTx/>
              <a:latin typeface="Rubik"/>
              <a:ea typeface="+mn-ea"/>
              <a:cs typeface="+mn-cs"/>
            </a:endParaRPr>
          </a:p>
        </p:txBody>
      </p:sp>
      <p:sp>
        <p:nvSpPr>
          <p:cNvPr id="4" name="Cím 1">
            <a:extLst>
              <a:ext uri="{FF2B5EF4-FFF2-40B4-BE49-F238E27FC236}">
                <a16:creationId xmlns:a16="http://schemas.microsoft.com/office/drawing/2014/main" id="{1C519FE0-146B-7C8B-52CF-B9152327B278}"/>
              </a:ext>
            </a:extLst>
          </p:cNvPr>
          <p:cNvSpPr txBox="1">
            <a:spLocks/>
          </p:cNvSpPr>
          <p:nvPr/>
        </p:nvSpPr>
        <p:spPr>
          <a:xfrm>
            <a:off x="301195" y="281043"/>
            <a:ext cx="10962331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endParaRPr lang="en-US" sz="2400" noProof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Cím 1">
            <a:extLst>
              <a:ext uri="{FF2B5EF4-FFF2-40B4-BE49-F238E27FC236}">
                <a16:creationId xmlns:a16="http://schemas.microsoft.com/office/drawing/2014/main" id="{330C7A3F-7989-EFE7-AC4D-B7BC33AC42EC}"/>
              </a:ext>
            </a:extLst>
          </p:cNvPr>
          <p:cNvSpPr txBox="1">
            <a:spLocks/>
          </p:cNvSpPr>
          <p:nvPr/>
        </p:nvSpPr>
        <p:spPr>
          <a:xfrm>
            <a:off x="398613" y="253794"/>
            <a:ext cx="10962331" cy="53498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hu-HU" sz="3200" b="1" kern="1200" dirty="0" smtClean="0">
                <a:solidFill>
                  <a:schemeClr val="accent1"/>
                </a:solidFill>
                <a:latin typeface="Rubik" panose="00000500000000000000" pitchFamily="2" charset="-79"/>
                <a:ea typeface="+mj-ea"/>
                <a:cs typeface="Rubik" panose="00000500000000000000" pitchFamily="2" charset="-79"/>
              </a:defRPr>
            </a:lvl1pPr>
          </a:lstStyle>
          <a:p>
            <a:pPr>
              <a:defRPr/>
            </a:pPr>
            <a:r>
              <a:rPr lang="en-US" sz="2400" noProof="0" dirty="0"/>
              <a:t>Our next stop: North Macedonia</a:t>
            </a:r>
            <a:endParaRPr lang="en-US" sz="2400" noProof="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DB309B4-F905-535C-0663-5CF945DCCB57}"/>
              </a:ext>
            </a:extLst>
          </p:cNvPr>
          <p:cNvSpPr txBox="1"/>
          <p:nvPr/>
        </p:nvSpPr>
        <p:spPr>
          <a:xfrm>
            <a:off x="248963" y="796905"/>
            <a:ext cx="7142618" cy="58785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Great fit with 4iG’s expansion strategy, next piece in the 4iG Western Balkans puzzl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Only 2 mobile operators with own frequencies, space for a new ultra efficient 5G-first challenger player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Strong 5G-centric radio frequency portfolio available for the new entrant </a:t>
            </a:r>
            <a:r>
              <a:rPr lang="en-US" b="1" noProof="0" dirty="0">
                <a:latin typeface="-apple-system"/>
              </a:rPr>
              <a:t>– 700 MHz – 1800 MHz – 3.6 GHz spectrum acquisition in progres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Independent </a:t>
            </a:r>
            <a:r>
              <a:rPr lang="en-US" noProof="0" dirty="0" err="1">
                <a:latin typeface="-apple-system"/>
              </a:rPr>
              <a:t>TowerCompany</a:t>
            </a:r>
            <a:r>
              <a:rPr lang="en-US" noProof="0" dirty="0">
                <a:latin typeface="-apple-system"/>
              </a:rPr>
              <a:t> with countrywide tower grid with very low utilization – minimizes the need to build new towers (would be expensive and slow) – </a:t>
            </a:r>
            <a:r>
              <a:rPr lang="en-US" b="1" noProof="0" dirty="0">
                <a:latin typeface="-apple-system"/>
              </a:rPr>
              <a:t>Letter of intent singed with </a:t>
            </a:r>
            <a:r>
              <a:rPr lang="en-US" b="1" noProof="0" dirty="0" err="1">
                <a:latin typeface="-apple-system"/>
              </a:rPr>
              <a:t>EuroTelesites</a:t>
            </a:r>
            <a:endParaRPr lang="en-US" b="1" noProof="0" dirty="0">
              <a:latin typeface="-apple-system"/>
            </a:endParaRP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noProof="0" dirty="0">
                <a:latin typeface="-apple-system"/>
              </a:rPr>
              <a:t>No legacy </a:t>
            </a:r>
            <a:r>
              <a:rPr lang="en-US" noProof="0" dirty="0">
                <a:latin typeface="-apple-system"/>
              </a:rPr>
              <a:t>technology and business processes burden: </a:t>
            </a:r>
            <a:r>
              <a:rPr lang="en-US" b="1" noProof="0" dirty="0">
                <a:latin typeface="-apple-system"/>
              </a:rPr>
              <a:t>5G Standalone </a:t>
            </a:r>
            <a:r>
              <a:rPr lang="en-US" noProof="0" dirty="0">
                <a:latin typeface="-apple-system"/>
              </a:rPr>
              <a:t>from day 1.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b="1" noProof="0" dirty="0">
                <a:latin typeface="-apple-system"/>
              </a:rPr>
              <a:t>Synergies</a:t>
            </a:r>
            <a:r>
              <a:rPr lang="en-US" noProof="0" dirty="0">
                <a:latin typeface="-apple-system"/>
              </a:rPr>
              <a:t> with 4iG’s existing operations in neighboring Albania and in Montenegr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Platform for 4iG Group’s </a:t>
            </a:r>
            <a:r>
              <a:rPr lang="en-US" b="1" noProof="0" dirty="0">
                <a:latin typeface="-apple-system"/>
              </a:rPr>
              <a:t>IT</a:t>
            </a:r>
            <a:r>
              <a:rPr lang="en-US" noProof="0" dirty="0">
                <a:latin typeface="-apple-system"/>
              </a:rPr>
              <a:t> and </a:t>
            </a:r>
            <a:r>
              <a:rPr lang="en-US" b="1" noProof="0" dirty="0">
                <a:latin typeface="-apple-system"/>
              </a:rPr>
              <a:t>Space &amp; </a:t>
            </a:r>
            <a:r>
              <a:rPr lang="en-US" b="1" noProof="0" dirty="0" err="1">
                <a:latin typeface="-apple-system"/>
              </a:rPr>
              <a:t>defen</a:t>
            </a:r>
            <a:r>
              <a:rPr lang="hu-HU" b="1" noProof="0" dirty="0">
                <a:latin typeface="-apple-system"/>
              </a:rPr>
              <a:t>c</a:t>
            </a:r>
            <a:r>
              <a:rPr lang="en-US" b="1" noProof="0" dirty="0">
                <a:latin typeface="-apple-system"/>
              </a:rPr>
              <a:t>e </a:t>
            </a:r>
            <a:r>
              <a:rPr lang="en-US" noProof="0" dirty="0">
                <a:latin typeface="-apple-system"/>
              </a:rPr>
              <a:t>expansion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noProof="0" dirty="0">
                <a:latin typeface="-apple-system"/>
              </a:rPr>
              <a:t>Challenging Business Case, strategic investment, part of a much larger story. It is a marathon, not a spri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1DE675-BA72-E95C-D13E-3013A52310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8129" y="864981"/>
            <a:ext cx="4601628" cy="5314363"/>
          </a:xfrm>
          <a:prstGeom prst="rect">
            <a:avLst/>
          </a:prstGeom>
        </p:spPr>
      </p:pic>
      <p:pic>
        <p:nvPicPr>
          <p:cNvPr id="10" name="Picture 2" descr="Flag of North Macedonia - Wikipedia">
            <a:extLst>
              <a:ext uri="{FF2B5EF4-FFF2-40B4-BE49-F238E27FC236}">
                <a16:creationId xmlns:a16="http://schemas.microsoft.com/office/drawing/2014/main" id="{590841F3-F136-CE67-9381-FD8F8D8E43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031" y="5200349"/>
            <a:ext cx="1643242" cy="821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E73585DF-8B71-7F2E-FDB7-4F2DAA9FC90E}"/>
              </a:ext>
            </a:extLst>
          </p:cNvPr>
          <p:cNvSpPr/>
          <p:nvPr/>
        </p:nvSpPr>
        <p:spPr>
          <a:xfrm>
            <a:off x="8762620" y="1803115"/>
            <a:ext cx="444500" cy="422330"/>
          </a:xfrm>
          <a:prstGeom prst="ellipse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1.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013788-0F66-5EC6-25A2-293E6E4F6CC3}"/>
              </a:ext>
            </a:extLst>
          </p:cNvPr>
          <p:cNvSpPr/>
          <p:nvPr/>
        </p:nvSpPr>
        <p:spPr>
          <a:xfrm>
            <a:off x="9119470" y="4316578"/>
            <a:ext cx="444500" cy="422330"/>
          </a:xfrm>
          <a:prstGeom prst="ellipse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2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BD42E5E-CE29-F8AC-9127-95FBFDA79F25}"/>
              </a:ext>
            </a:extLst>
          </p:cNvPr>
          <p:cNvSpPr/>
          <p:nvPr/>
        </p:nvSpPr>
        <p:spPr>
          <a:xfrm>
            <a:off x="9449601" y="4892090"/>
            <a:ext cx="444500" cy="422330"/>
          </a:xfrm>
          <a:prstGeom prst="ellipse">
            <a:avLst/>
          </a:prstGeom>
          <a:solidFill>
            <a:srgbClr val="FFFFF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3.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D332A23-BBAB-F51B-2584-2060D66B316D}"/>
              </a:ext>
            </a:extLst>
          </p:cNvPr>
          <p:cNvSpPr/>
          <p:nvPr/>
        </p:nvSpPr>
        <p:spPr>
          <a:xfrm>
            <a:off x="10423907" y="4738908"/>
            <a:ext cx="444500" cy="422330"/>
          </a:xfrm>
          <a:prstGeom prst="ellipse">
            <a:avLst/>
          </a:prstGeom>
          <a:solidFill>
            <a:srgbClr val="FFFFFF"/>
          </a:solidFill>
          <a:ln w="5715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noProof="0" dirty="0">
                <a:solidFill>
                  <a:schemeClr val="tx1"/>
                </a:solidFill>
              </a:rPr>
              <a:t>4.</a:t>
            </a:r>
          </a:p>
        </p:txBody>
      </p:sp>
    </p:spTree>
    <p:extLst>
      <p:ext uri="{BB962C8B-B14F-4D97-AF65-F5344CB8AC3E}">
        <p14:creationId xmlns:p14="http://schemas.microsoft.com/office/powerpoint/2010/main" val="2181401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BB0EB9D-7345-DB91-4DEB-DCE385AAC5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Cím helye 1">
            <a:extLst>
              <a:ext uri="{FF2B5EF4-FFF2-40B4-BE49-F238E27FC236}">
                <a16:creationId xmlns:a16="http://schemas.microsoft.com/office/drawing/2014/main" id="{0C28C7D2-A630-6C7C-72EE-8DCABCD6483D}"/>
              </a:ext>
            </a:extLst>
          </p:cNvPr>
          <p:cNvSpPr txBox="1">
            <a:spLocks/>
          </p:cNvSpPr>
          <p:nvPr/>
        </p:nvSpPr>
        <p:spPr>
          <a:xfrm>
            <a:off x="942975" y="2171325"/>
            <a:ext cx="5153025" cy="17903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b="0" dirty="0" err="1"/>
              <a:t>Thank</a:t>
            </a:r>
            <a:r>
              <a:rPr lang="hu-HU" b="0" dirty="0"/>
              <a:t> </a:t>
            </a:r>
            <a:r>
              <a:rPr lang="hu-HU" b="0" dirty="0" err="1"/>
              <a:t>you</a:t>
            </a:r>
            <a:r>
              <a:rPr lang="hu-HU" b="0" dirty="0"/>
              <a:t>, </a:t>
            </a:r>
            <a:r>
              <a:rPr lang="az-Cyrl-AZ" b="0" dirty="0"/>
              <a:t>Благодарам</a:t>
            </a:r>
            <a:r>
              <a:rPr lang="hu-HU" b="0" dirty="0"/>
              <a:t>!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79390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4&quot;&gt;&lt;elem m_fUsage=&quot;1.97559000000000017927E+00&quot;&gt;&lt;m_msothmcolidx val=&quot;0&quot;/&gt;&lt;m_rgb r=&quot;FF&quot; g=&quot;00&quot; b=&quot;00&quot;/&gt;&lt;/elem&gt;&lt;elem m_fUsage=&quot;1.70999999999999996447E+00&quot;&gt;&lt;m_msothmcolidx val=&quot;0&quot;/&gt;&lt;m_rgb r=&quot;64&quot; g=&quot;2C&quot; b=&quot;90&quot;/&gt;&lt;/elem&gt;&lt;elem m_fUsage=&quot;1.00000000000000000000E+00&quot;&gt;&lt;m_msothmcolidx val=&quot;0&quot;/&gt;&lt;m_rgb r=&quot;00&quot; g=&quot;40&quot; b=&quot;6E&quot;/&gt;&lt;/elem&gt;&lt;elem m_fUsage=&quot;5.31441000000000163261E-01&quot;&gt;&lt;m_msothmcolidx val=&quot;0&quot;/&gt;&lt;m_rgb r=&quot;CC&quot; g=&quot;DE&quot; b=&quot;F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4iG template színek">
      <a:dk1>
        <a:srgbClr val="3D3D3F"/>
      </a:dk1>
      <a:lt1>
        <a:srgbClr val="E3F1FF"/>
      </a:lt1>
      <a:dk2>
        <a:srgbClr val="3D3D3F"/>
      </a:dk2>
      <a:lt2>
        <a:srgbClr val="E7E6E6"/>
      </a:lt2>
      <a:accent1>
        <a:srgbClr val="249BD7"/>
      </a:accent1>
      <a:accent2>
        <a:srgbClr val="E95A0C"/>
      </a:accent2>
      <a:accent3>
        <a:srgbClr val="024B75"/>
      </a:accent3>
      <a:accent4>
        <a:srgbClr val="FFA801"/>
      </a:accent4>
      <a:accent5>
        <a:srgbClr val="0F9BA5"/>
      </a:accent5>
      <a:accent6>
        <a:srgbClr val="E6F4FF"/>
      </a:accent6>
      <a:hlink>
        <a:srgbClr val="0563C1"/>
      </a:hlink>
      <a:folHlink>
        <a:srgbClr val="954F72"/>
      </a:folHlink>
    </a:clrScheme>
    <a:fontScheme name="4iG PPT fonts">
      <a:majorFont>
        <a:latin typeface="Rubik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ehér" id="{1F7F424A-F788-4C84-8D8C-9DD6CB713367}" vid="{7F7547D7-7191-4766-AC9F-C2786A50344B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0e0dcc58-37df-4805-b2b9-b8502bc3eb7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C33CC9F125681749A5C2683B6CD47C0C" ma:contentTypeVersion="8" ma:contentTypeDescription="Új dokumentum létrehozása." ma:contentTypeScope="" ma:versionID="e16c1a71242728b650a64dab78cc1a0b">
  <xsd:schema xmlns:xsd="http://www.w3.org/2001/XMLSchema" xmlns:xs="http://www.w3.org/2001/XMLSchema" xmlns:p="http://schemas.microsoft.com/office/2006/metadata/properties" xmlns:ns3="0e0dcc58-37df-4805-b2b9-b8502bc3eb74" targetNamespace="http://schemas.microsoft.com/office/2006/metadata/properties" ma:root="true" ma:fieldsID="096a697d25965bd9fe20b6be2b2f03b7" ns3:_="">
    <xsd:import namespace="0e0dcc58-37df-4805-b2b9-b8502bc3eb7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_activity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0dcc58-37df-4805-b2b9-b8502bc3eb7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3" nillable="true" ma:displayName="_activity" ma:hidden="true" ma:internalName="_activity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BD12F2-872B-410E-81F9-5989105BA166}">
  <ds:schemaRefs>
    <ds:schemaRef ds:uri="0e0dcc58-37df-4805-b2b9-b8502bc3eb74"/>
    <ds:schemaRef ds:uri="http://www.w3.org/XML/1998/namespace"/>
    <ds:schemaRef ds:uri="http://schemas.microsoft.com/office/2006/documentManagement/types"/>
    <ds:schemaRef ds:uri="http://purl.org/dc/dcmitype/"/>
    <ds:schemaRef ds:uri="http://purl.org/dc/terms/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FE1FB69C-5176-4FC4-8926-CA20737C46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706DA90-37A3-486D-B951-C3BD5AC535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e0dcc58-37df-4805-b2b9-b8502bc3eb7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46</TotalTime>
  <Words>325</Words>
  <Application>Microsoft Office PowerPoint</Application>
  <PresentationFormat>Widescreen</PresentationFormat>
  <Paragraphs>71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-apple-system</vt:lpstr>
      <vt:lpstr>Arial</vt:lpstr>
      <vt:lpstr>Calibri</vt:lpstr>
      <vt:lpstr>Calibri Light</vt:lpstr>
      <vt:lpstr>Rubik</vt:lpstr>
      <vt:lpstr>Rubik Black</vt:lpstr>
      <vt:lpstr>Wingdings</vt:lpstr>
      <vt:lpstr>Office-téma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4iG_Rheinmetall_CMD_21Nov2023_FINAL</dc:title>
  <dc:creator>Akos.Horanyi@4ig.hu</dc:creator>
  <cp:lastModifiedBy>Zarándy Pál</cp:lastModifiedBy>
  <cp:revision>33</cp:revision>
  <dcterms:created xsi:type="dcterms:W3CDTF">2021-11-16T14:15:57Z</dcterms:created>
  <dcterms:modified xsi:type="dcterms:W3CDTF">2025-05-13T06:1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C33CC9F125681749A5C2683B6CD47C0C</vt:lpwstr>
  </property>
</Properties>
</file>